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  <p:sldMasterId id="2147483702" r:id="rId2"/>
    <p:sldMasterId id="2147483674" r:id="rId3"/>
    <p:sldMasterId id="2147483677" r:id="rId4"/>
    <p:sldMasterId id="2147483810" r:id="rId5"/>
  </p:sldMasterIdLst>
  <p:notesMasterIdLst>
    <p:notesMasterId r:id="rId14"/>
  </p:notesMasterIdLst>
  <p:handoutMasterIdLst>
    <p:handoutMasterId r:id="rId15"/>
  </p:handoutMasterIdLst>
  <p:sldIdLst>
    <p:sldId id="256" r:id="rId6"/>
    <p:sldId id="999" r:id="rId7"/>
    <p:sldId id="1002" r:id="rId8"/>
    <p:sldId id="982" r:id="rId9"/>
    <p:sldId id="989" r:id="rId10"/>
    <p:sldId id="988" r:id="rId11"/>
    <p:sldId id="983" r:id="rId12"/>
    <p:sldId id="985" r:id="rId13"/>
  </p:sldIdLst>
  <p:sldSz cx="12188825" cy="6858000"/>
  <p:notesSz cx="7010400" cy="9296400"/>
  <p:defaultTextStyle>
    <a:defPPr>
      <a:defRPr lang="uk-UA"/>
    </a:defPPr>
    <a:lvl1pPr marL="0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86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71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57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43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29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14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00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686" algn="l" defTabSz="9141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40" userDrawn="1">
          <p15:clr>
            <a:srgbClr val="A4A3A4"/>
          </p15:clr>
        </p15:guide>
        <p15:guide id="2" pos="5760" userDrawn="1">
          <p15:clr>
            <a:srgbClr val="A4A3A4"/>
          </p15:clr>
        </p15:guide>
        <p15:guide id="3" orient="horz" pos="1080" userDrawn="1">
          <p15:clr>
            <a:srgbClr val="A4A3A4"/>
          </p15:clr>
        </p15:guide>
        <p15:guide id="4" orient="horz" pos="3144" userDrawn="1">
          <p15:clr>
            <a:srgbClr val="A4A3A4"/>
          </p15:clr>
        </p15:guide>
        <p15:guide id="5" pos="625">
          <p15:clr>
            <a:srgbClr val="A4A3A4"/>
          </p15:clr>
        </p15:guide>
        <p15:guide id="6" pos="1572">
          <p15:clr>
            <a:srgbClr val="A4A3A4"/>
          </p15:clr>
        </p15:guide>
        <p15:guide id="7" pos="2746">
          <p15:clr>
            <a:srgbClr val="A4A3A4"/>
          </p15:clr>
        </p15:guide>
        <p15:guide id="8" pos="4599">
          <p15:clr>
            <a:srgbClr val="A4A3A4"/>
          </p15:clr>
        </p15:guide>
        <p15:guide id="9" pos="7300">
          <p15:clr>
            <a:srgbClr val="A4A3A4"/>
          </p15:clr>
        </p15:guide>
        <p15:guide id="10" pos="7061">
          <p15:clr>
            <a:srgbClr val="A4A3A4"/>
          </p15:clr>
        </p15:guide>
        <p15:guide id="11" orient="horz" pos="3846">
          <p15:clr>
            <a:srgbClr val="A4A3A4"/>
          </p15:clr>
        </p15:guide>
        <p15:guide id="12" orient="horz" pos="1097">
          <p15:clr>
            <a:srgbClr val="A4A3A4"/>
          </p15:clr>
        </p15:guide>
        <p15:guide id="13" orient="horz" pos="238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nica Xu" initials="MX" lastIdx="1" clrIdx="0">
    <p:extLst>
      <p:ext uri="{19B8F6BF-5375-455C-9EA6-DF929625EA0E}">
        <p15:presenceInfo xmlns:p15="http://schemas.microsoft.com/office/powerpoint/2012/main" userId="S-1-5-21-3952957411-814368167-1943585435-1636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3D0"/>
    <a:srgbClr val="A6A6A6"/>
    <a:srgbClr val="FFFFFF"/>
    <a:srgbClr val="97D5C9"/>
    <a:srgbClr val="39BB9D"/>
    <a:srgbClr val="566A73"/>
    <a:srgbClr val="38464D"/>
    <a:srgbClr val="B9F058"/>
    <a:srgbClr val="64D4EA"/>
    <a:srgbClr val="4CCC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5" autoAdjust="0"/>
    <p:restoredTop sz="92251" autoAdjust="0"/>
  </p:normalViewPr>
  <p:slideViewPr>
    <p:cSldViewPr snapToGrid="0">
      <p:cViewPr varScale="1">
        <p:scale>
          <a:sx n="63" d="100"/>
          <a:sy n="63" d="100"/>
        </p:scale>
        <p:origin x="764" y="52"/>
      </p:cViewPr>
      <p:guideLst>
        <p:guide orient="horz" pos="3840"/>
        <p:guide pos="5760"/>
        <p:guide orient="horz" pos="1080"/>
        <p:guide orient="horz" pos="3144"/>
        <p:guide pos="625"/>
        <p:guide pos="1572"/>
        <p:guide pos="2746"/>
        <p:guide pos="4599"/>
        <p:guide pos="7300"/>
        <p:guide pos="7061"/>
        <p:guide orient="horz" pos="3846"/>
        <p:guide orient="horz" pos="1097"/>
        <p:guide orient="horz" pos="23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-160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9341A87-5C64-413A-9C7F-1FBEB882DBB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258" cy="46529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41BDB4F-FE77-4897-8BDD-21723C6DF88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576" y="0"/>
            <a:ext cx="3038258" cy="46529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/>
            </a:lvl1pPr>
          </a:lstStyle>
          <a:p>
            <a:fld id="{8A2341DC-53D9-4503-B239-D4D18CC4FBD3}" type="datetimeFigureOut">
              <a:rPr lang="en-US" smtClean="0"/>
              <a:t>4/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E984A2-8256-411A-AAFE-491A30DB78B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8831108"/>
            <a:ext cx="3038258" cy="46529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E316C8-B787-4D84-A603-DECC885A904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576" y="8831108"/>
            <a:ext cx="3038258" cy="46529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/>
            </a:lvl1pPr>
          </a:lstStyle>
          <a:p>
            <a:fld id="{BBF1A7E8-C82A-4D34-8730-7089448EC6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3878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4" tIns="46586" rIns="93174" bIns="46586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4" tIns="46586" rIns="93174" bIns="46586" rtlCol="0"/>
          <a:lstStyle>
            <a:lvl1pPr algn="r">
              <a:defRPr sz="1200"/>
            </a:lvl1pPr>
          </a:lstStyle>
          <a:p>
            <a:fld id="{FB027185-10FB-4A57-B3F0-45136A811A24}" type="datetimeFigureOut">
              <a:rPr lang="uk-UA" smtClean="0"/>
              <a:t>01.04.2020</a:t>
            </a:fld>
            <a:endParaRPr lang="uk-U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2050"/>
            <a:ext cx="557212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4" tIns="46586" rIns="93174" bIns="46586" rtlCol="0" anchor="ctr"/>
          <a:lstStyle/>
          <a:p>
            <a:endParaRPr lang="uk-U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3"/>
            <a:ext cx="5608320" cy="3660457"/>
          </a:xfrm>
          <a:prstGeom prst="rect">
            <a:avLst/>
          </a:prstGeom>
        </p:spPr>
        <p:txBody>
          <a:bodyPr vert="horz" lIns="93174" tIns="46586" rIns="93174" bIns="4658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4" tIns="46586" rIns="93174" bIns="46586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4" tIns="46586" rIns="93174" bIns="46586" rtlCol="0" anchor="b"/>
          <a:lstStyle>
            <a:lvl1pPr algn="r">
              <a:defRPr sz="1200"/>
            </a:lvl1pPr>
          </a:lstStyle>
          <a:p>
            <a:fld id="{BD9C3A12-1E0F-412B-B376-8089A55D946C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5672169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09448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304724" algn="l" defTabSz="609448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609448" algn="l" defTabSz="609448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914171" algn="l" defTabSz="609448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1218895" algn="l" defTabSz="609448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523619" algn="l" defTabSz="609448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828343" algn="l" defTabSz="609448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133067" algn="l" defTabSz="609448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437790" algn="l" defTabSz="609448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t>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159379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t>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9468420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t>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5888355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t>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3705468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t>8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971009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7033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399133" y="1880556"/>
            <a:ext cx="4502569" cy="41148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2400">
                <a:latin typeface="+mj-lt"/>
              </a:defRPr>
            </a:lvl1pPr>
            <a:lvl2pPr marL="227013" indent="-227013">
              <a:defRPr sz="1800">
                <a:solidFill>
                  <a:schemeClr val="tx2"/>
                </a:solidFill>
                <a:latin typeface="+mj-lt"/>
              </a:defRPr>
            </a:lvl2pPr>
            <a:lvl3pPr marL="693738" indent="-227013">
              <a:defRPr sz="1600">
                <a:solidFill>
                  <a:schemeClr val="tx2"/>
                </a:solidFill>
                <a:latin typeface="+mj-lt"/>
              </a:defRPr>
            </a:lvl3pPr>
            <a:lvl4pPr marL="1150938" indent="-227013">
              <a:defRPr sz="1400">
                <a:solidFill>
                  <a:schemeClr val="tx2"/>
                </a:solidFill>
                <a:latin typeface="+mj-lt"/>
              </a:defRPr>
            </a:lvl4pPr>
            <a:lvl5pPr marL="1374775" indent="-227013">
              <a:defRPr sz="1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1523603" y="1880556"/>
            <a:ext cx="4502569" cy="41148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2400">
                <a:latin typeface="+mj-lt"/>
              </a:defRPr>
            </a:lvl1pPr>
            <a:lvl2pPr marL="227013" indent="-227013">
              <a:defRPr sz="1800">
                <a:solidFill>
                  <a:schemeClr val="tx2"/>
                </a:solidFill>
                <a:latin typeface="+mj-lt"/>
              </a:defRPr>
            </a:lvl2pPr>
            <a:lvl3pPr marL="693738" indent="-227013">
              <a:defRPr sz="1600">
                <a:solidFill>
                  <a:schemeClr val="tx2"/>
                </a:solidFill>
                <a:latin typeface="+mj-lt"/>
              </a:defRPr>
            </a:lvl3pPr>
            <a:lvl4pPr marL="1150938" indent="-227013">
              <a:defRPr sz="1400">
                <a:solidFill>
                  <a:schemeClr val="tx2"/>
                </a:solidFill>
                <a:latin typeface="+mj-lt"/>
              </a:defRPr>
            </a:lvl4pPr>
            <a:lvl5pPr marL="1374775" indent="-227013">
              <a:defRPr sz="1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8326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37982" y="1600200"/>
            <a:ext cx="3351927" cy="3352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998916" y="1600200"/>
            <a:ext cx="3351927" cy="3352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418449" y="1600200"/>
            <a:ext cx="3351927" cy="3352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40335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523603" y="16032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523603" y="28224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523603" y="40416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742485" y="16032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2742485" y="40416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961368" y="16032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961368" y="28224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961368" y="40416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2742485" y="28224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808245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3432048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437765" y="1600200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2437765" y="3432048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875530" y="1600200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875530" y="3432048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7313295" y="1600200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7313295" y="3432048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9751060" y="1600200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9751060" y="3432048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82249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3047206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47206" y="1600200"/>
            <a:ext cx="3047206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3432048"/>
            <a:ext cx="3047206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047206" y="3432048"/>
            <a:ext cx="3047206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270162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429000"/>
            <a:ext cx="3047206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047206" y="1600200"/>
            <a:ext cx="3047206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4413" y="3429000"/>
            <a:ext cx="3047206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141619" y="1600200"/>
            <a:ext cx="3047206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74832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736907" y="2170176"/>
            <a:ext cx="1694247" cy="301752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18036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3425060" y="2432304"/>
            <a:ext cx="1383432" cy="2505456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042144" y="2432304"/>
            <a:ext cx="1383432" cy="2505456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2108667" y="2237232"/>
            <a:ext cx="1615019" cy="2877312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815764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736908" y="1999488"/>
            <a:ext cx="2486520" cy="332232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81517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767380" y="1993392"/>
            <a:ext cx="4266089" cy="2627376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214557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2291499" y="2036064"/>
            <a:ext cx="3516476" cy="2170176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29121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723170" y="1880556"/>
            <a:ext cx="2743200" cy="41148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2400">
                <a:latin typeface="+mj-lt"/>
              </a:defRPr>
            </a:lvl1pPr>
            <a:lvl2pPr marL="227013" indent="-227013">
              <a:defRPr sz="1800">
                <a:solidFill>
                  <a:schemeClr val="tx2"/>
                </a:solidFill>
                <a:latin typeface="+mj-lt"/>
              </a:defRPr>
            </a:lvl2pPr>
            <a:lvl3pPr marL="693738" indent="-227013">
              <a:defRPr sz="1600">
                <a:solidFill>
                  <a:schemeClr val="tx2"/>
                </a:solidFill>
                <a:latin typeface="+mj-lt"/>
              </a:defRPr>
            </a:lvl3pPr>
            <a:lvl4pPr marL="1150938" indent="-227013">
              <a:defRPr sz="1400">
                <a:solidFill>
                  <a:schemeClr val="tx2"/>
                </a:solidFill>
                <a:latin typeface="+mj-lt"/>
              </a:defRPr>
            </a:lvl4pPr>
            <a:lvl5pPr marL="1374775" indent="-227013">
              <a:defRPr sz="1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1523603" y="1880556"/>
            <a:ext cx="2743200" cy="41148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2400">
                <a:latin typeface="+mj-lt"/>
              </a:defRPr>
            </a:lvl1pPr>
            <a:lvl2pPr marL="227013" indent="-227013">
              <a:defRPr sz="1800">
                <a:solidFill>
                  <a:schemeClr val="tx2"/>
                </a:solidFill>
                <a:latin typeface="+mj-lt"/>
              </a:defRPr>
            </a:lvl2pPr>
            <a:lvl3pPr marL="693738" indent="-227013">
              <a:defRPr sz="1600">
                <a:solidFill>
                  <a:schemeClr val="tx2"/>
                </a:solidFill>
                <a:latin typeface="+mj-lt"/>
              </a:defRPr>
            </a:lvl3pPr>
            <a:lvl4pPr marL="1150938" indent="-227013">
              <a:defRPr sz="1400">
                <a:solidFill>
                  <a:schemeClr val="tx2"/>
                </a:solidFill>
                <a:latin typeface="+mj-lt"/>
              </a:defRPr>
            </a:lvl4pPr>
            <a:lvl5pPr marL="1374775" indent="-227013">
              <a:defRPr sz="1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7922736" y="1880556"/>
            <a:ext cx="2743200" cy="41148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2400">
                <a:latin typeface="+mj-lt"/>
              </a:defRPr>
            </a:lvl1pPr>
            <a:lvl2pPr marL="227013" indent="-227013">
              <a:defRPr sz="1800">
                <a:solidFill>
                  <a:schemeClr val="tx2"/>
                </a:solidFill>
                <a:latin typeface="+mj-lt"/>
              </a:defRPr>
            </a:lvl2pPr>
            <a:lvl3pPr marL="693738" indent="-227013">
              <a:defRPr sz="1600">
                <a:solidFill>
                  <a:schemeClr val="tx2"/>
                </a:solidFill>
                <a:latin typeface="+mj-lt"/>
              </a:defRPr>
            </a:lvl3pPr>
            <a:lvl4pPr marL="1150938" indent="-227013">
              <a:defRPr sz="1400">
                <a:solidFill>
                  <a:schemeClr val="tx2"/>
                </a:solidFill>
                <a:latin typeface="+mj-lt"/>
              </a:defRPr>
            </a:lvl4pPr>
            <a:lvl5pPr marL="1374775" indent="-227013">
              <a:defRPr sz="1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811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413904" y="1969008"/>
            <a:ext cx="4345316" cy="2487168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605725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334676" y="1859280"/>
            <a:ext cx="4784114" cy="2737104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95077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8825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285921" y="2145792"/>
            <a:ext cx="1615019" cy="2877312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 dirty="0"/>
            </a:lvl1pPr>
          </a:lstStyle>
          <a:p>
            <a:pPr marL="0" lvl="0" indent="0" algn="ctr">
              <a:buNone/>
            </a:pP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0842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8825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267638" y="2389632"/>
            <a:ext cx="1462659" cy="2590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644459" y="2389632"/>
            <a:ext cx="1462659" cy="2590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2346349" y="2176272"/>
            <a:ext cx="1694247" cy="301752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628724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8825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749097" y="1993392"/>
            <a:ext cx="2486520" cy="332232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 dirty="0"/>
            </a:lvl1pPr>
          </a:lstStyle>
          <a:p>
            <a:pPr marL="0" lvl="0" indent="0" algn="ctr">
              <a:buNone/>
            </a:pP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76603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8825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84048" y="380941"/>
            <a:ext cx="3631254" cy="477054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endParaRPr lang="uk-UA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935975" y="1752600"/>
            <a:ext cx="4316876" cy="2641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440940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8825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84048" y="380941"/>
            <a:ext cx="3631254" cy="477054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endParaRPr lang="uk-UA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103089" y="1859280"/>
            <a:ext cx="4643942" cy="2657856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13206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973557" y="1627632"/>
            <a:ext cx="3802913" cy="216408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437765" y="3835400"/>
            <a:ext cx="457081" cy="810768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8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126434" y="3169920"/>
            <a:ext cx="1096994" cy="1450848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7368145" y="2889504"/>
            <a:ext cx="2590125" cy="1603248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50309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870985" y="2133600"/>
            <a:ext cx="2590125" cy="2590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8653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S OPT-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8825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3230039" y="2133600"/>
            <a:ext cx="5747031" cy="323088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 dirty="0"/>
            </a:lvl1pPr>
          </a:lstStyle>
          <a:p>
            <a:pPr marL="0" lvl="0" indent="0" algn="ctr">
              <a:buNone/>
            </a:pP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453227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71550" y="1650351"/>
            <a:ext cx="7752902" cy="477038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5492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ODU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68666" y="2171700"/>
            <a:ext cx="3809008" cy="2555875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3647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-SLIDE OPT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4413" cy="68580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6703854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71229129"/>
      </p:ext>
    </p:extLst>
  </p:cSld>
  <p:clrMapOvr>
    <a:masterClrMapping/>
  </p:clrMapOvr>
  <p:hf hdr="0" ft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MG-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4412" y="0"/>
            <a:ext cx="6094413" cy="68580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609194616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O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8825" cy="3429000"/>
          </a:xfrm>
          <a:prstGeom prst="rect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1" y="6223000"/>
            <a:ext cx="1523603" cy="398211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11369979" y="6323608"/>
            <a:ext cx="209405" cy="2051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fld id="{758A123B-341A-4FA6-84B6-F1CA4693FF67}" type="slidenum">
              <a:rPr lang="en-US" sz="1300" smtClean="0">
                <a:solidFill>
                  <a:schemeClr val="tx2"/>
                </a:solidFill>
              </a:rPr>
              <a:pPr algn="l"/>
              <a:t>‹#›</a:t>
            </a:fld>
            <a:endParaRPr lang="en-US" sz="1300" dirty="0">
              <a:solidFill>
                <a:schemeClr val="tx2"/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46123" y="6224529"/>
            <a:ext cx="0" cy="392182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11225117" y="6224529"/>
            <a:ext cx="0" cy="392182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352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Rectangle 9"/>
          <p:cNvSpPr/>
          <p:nvPr userDrawn="1"/>
        </p:nvSpPr>
        <p:spPr>
          <a:xfrm>
            <a:off x="0" y="1600200"/>
            <a:ext cx="12188825" cy="3657600"/>
          </a:xfrm>
          <a:prstGeom prst="rect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51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BOTTO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3429000"/>
            <a:ext cx="12188825" cy="3429000"/>
          </a:xfrm>
          <a:prstGeom prst="rect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solidFill>
                  <a:schemeClr val="tx1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0063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G-SLIDE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6094413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3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4" name="Rectangle 3"/>
          <p:cNvSpPr/>
          <p:nvPr userDrawn="1"/>
        </p:nvSpPr>
        <p:spPr>
          <a:xfrm>
            <a:off x="6092825" y="1600200"/>
            <a:ext cx="6096000" cy="3657600"/>
          </a:xfrm>
          <a:prstGeom prst="rect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7344791" y="2980944"/>
            <a:ext cx="3630168" cy="896112"/>
          </a:xfrm>
          <a:prstGeom prst="rect">
            <a:avLst/>
          </a:prstGeom>
        </p:spPr>
        <p:txBody>
          <a:bodyPr anchor="ctr"/>
          <a:lstStyle>
            <a:lvl1pPr algn="ctr">
              <a:defRPr sz="3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6648273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G-SLIDE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6094413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3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4" name="Rectangle 3"/>
          <p:cNvSpPr/>
          <p:nvPr userDrawn="1"/>
        </p:nvSpPr>
        <p:spPr>
          <a:xfrm>
            <a:off x="6092825" y="1600200"/>
            <a:ext cx="6096000" cy="3657600"/>
          </a:xfrm>
          <a:prstGeom prst="rect">
            <a:avLst/>
          </a:prstGeom>
          <a:solidFill>
            <a:schemeClr val="bg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7344791" y="2980944"/>
            <a:ext cx="3630168" cy="896112"/>
          </a:xfrm>
          <a:prstGeom prst="rect">
            <a:avLst/>
          </a:prstGeom>
        </p:spPr>
        <p:txBody>
          <a:bodyPr anchor="ctr"/>
          <a:lstStyle>
            <a:lvl1pPr algn="ctr">
              <a:defRPr sz="30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8420057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G-SLIDE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600200"/>
            <a:ext cx="6096000" cy="3657600"/>
          </a:xfrm>
          <a:prstGeom prst="rect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4412" y="1600200"/>
            <a:ext cx="6094413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3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51966" y="2980944"/>
            <a:ext cx="3630168" cy="896112"/>
          </a:xfrm>
          <a:prstGeom prst="rect">
            <a:avLst/>
          </a:prstGeom>
        </p:spPr>
        <p:txBody>
          <a:bodyPr anchor="ctr"/>
          <a:lstStyle>
            <a:lvl1pPr algn="ctr">
              <a:defRPr sz="3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8319340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G-SLIDE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600200"/>
            <a:ext cx="6096000" cy="3657600"/>
          </a:xfrm>
          <a:prstGeom prst="rect">
            <a:avLst/>
          </a:prstGeom>
          <a:solidFill>
            <a:schemeClr val="bg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4412" y="1600200"/>
            <a:ext cx="6094413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3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51966" y="2980944"/>
            <a:ext cx="3630168" cy="896112"/>
          </a:xfrm>
          <a:prstGeom prst="rect">
            <a:avLst/>
          </a:prstGeom>
        </p:spPr>
        <p:txBody>
          <a:bodyPr anchor="ctr"/>
          <a:lstStyle>
            <a:lvl1pPr algn="ctr">
              <a:defRPr sz="30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739228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8760718" y="3429000"/>
            <a:ext cx="3428107" cy="3429000"/>
          </a:xfrm>
          <a:custGeom>
            <a:avLst/>
            <a:gdLst>
              <a:gd name="connsiteX0" fmla="*/ 5143500 w 5143500"/>
              <a:gd name="connsiteY0" fmla="*/ 0 h 5143500"/>
              <a:gd name="connsiteX1" fmla="*/ 5143500 w 5143500"/>
              <a:gd name="connsiteY1" fmla="*/ 5143500 h 5143500"/>
              <a:gd name="connsiteX2" fmla="*/ 0 w 5143500"/>
              <a:gd name="connsiteY2" fmla="*/ 5143500 h 5143500"/>
              <a:gd name="connsiteX3" fmla="*/ 5143500 w 5143500"/>
              <a:gd name="connsiteY3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3500" h="5143500">
                <a:moveTo>
                  <a:pt x="5143500" y="0"/>
                </a:moveTo>
                <a:lnTo>
                  <a:pt x="5143500" y="5143500"/>
                </a:lnTo>
                <a:lnTo>
                  <a:pt x="0" y="5143500"/>
                </a:lnTo>
                <a:cubicBezTo>
                  <a:pt x="0" y="2302823"/>
                  <a:pt x="2302823" y="0"/>
                  <a:pt x="5143500" y="0"/>
                </a:cubicBezTo>
                <a:close/>
              </a:path>
            </a:pathLst>
          </a:cu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4900923" y="910015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 algn="r"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992038" y="3106158"/>
            <a:ext cx="6376687" cy="143133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161585" y="4988069"/>
            <a:ext cx="2585786" cy="1854500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15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1788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35467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1688152" y="1725168"/>
            <a:ext cx="1803946" cy="1804416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 marL="0" indent="0" algn="ctr">
              <a:buNone/>
              <a:defRPr sz="1300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30292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334160" y="1725168"/>
            <a:ext cx="1803946" cy="1804416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00222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034501" y="1755648"/>
            <a:ext cx="1633303" cy="1633728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6521021" y="1755648"/>
            <a:ext cx="1633303" cy="1633728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59233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200083" y="1810512"/>
            <a:ext cx="1633303" cy="1633728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5277761" y="1810512"/>
            <a:ext cx="1633303" cy="1633728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8349345" y="1810512"/>
            <a:ext cx="1633303" cy="1633728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52809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  <a:ln>
            <a:noFill/>
          </a:ln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224460" y="1956816"/>
            <a:ext cx="1060428" cy="1060704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2224460" y="3986784"/>
            <a:ext cx="1060428" cy="1060704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539304" y="1956816"/>
            <a:ext cx="1060428" cy="1060704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6539304" y="3987800"/>
            <a:ext cx="1060428" cy="1060704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4635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523603" y="16032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523603" y="28224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523603" y="40416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742485" y="16032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2742485" y="40416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961368" y="16032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961368" y="28224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961368" y="40416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897334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A1B56B-9EAD-4E96-AB40-1A41B36228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2425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9767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88825" cy="68580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36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36040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4413" cy="68580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3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4" name="Rectangle 3"/>
          <p:cNvSpPr/>
          <p:nvPr userDrawn="1"/>
        </p:nvSpPr>
        <p:spPr>
          <a:xfrm>
            <a:off x="6092825" y="-1"/>
            <a:ext cx="6096000" cy="6856413"/>
          </a:xfrm>
          <a:prstGeom prst="rect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7344791" y="2980944"/>
            <a:ext cx="3630168" cy="896112"/>
          </a:xfrm>
          <a:prstGeom prst="rect">
            <a:avLst/>
          </a:prstGeom>
        </p:spPr>
        <p:txBody>
          <a:bodyPr anchor="ctr"/>
          <a:lstStyle>
            <a:lvl1pPr algn="ctr">
              <a:defRPr sz="3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6453752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3694738" y="910015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 algn="l"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824743" y="3106158"/>
            <a:ext cx="6376687" cy="143133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reeform 4"/>
          <p:cNvSpPr/>
          <p:nvPr userDrawn="1"/>
        </p:nvSpPr>
        <p:spPr>
          <a:xfrm rot="5400000">
            <a:off x="-446" y="3429447"/>
            <a:ext cx="3429000" cy="3428107"/>
          </a:xfrm>
          <a:custGeom>
            <a:avLst/>
            <a:gdLst>
              <a:gd name="connsiteX0" fmla="*/ 5143500 w 5143500"/>
              <a:gd name="connsiteY0" fmla="*/ 0 h 5143500"/>
              <a:gd name="connsiteX1" fmla="*/ 5143500 w 5143500"/>
              <a:gd name="connsiteY1" fmla="*/ 5143500 h 5143500"/>
              <a:gd name="connsiteX2" fmla="*/ 0 w 5143500"/>
              <a:gd name="connsiteY2" fmla="*/ 5143500 h 5143500"/>
              <a:gd name="connsiteX3" fmla="*/ 5143500 w 5143500"/>
              <a:gd name="connsiteY3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3500" h="5143500">
                <a:moveTo>
                  <a:pt x="5143500" y="0"/>
                </a:moveTo>
                <a:lnTo>
                  <a:pt x="5143500" y="5143500"/>
                </a:lnTo>
                <a:lnTo>
                  <a:pt x="0" y="5143500"/>
                </a:lnTo>
                <a:cubicBezTo>
                  <a:pt x="0" y="2302823"/>
                  <a:pt x="2302823" y="0"/>
                  <a:pt x="5143500" y="0"/>
                </a:cubicBezTo>
                <a:close/>
              </a:path>
            </a:pathLst>
          </a:cu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rgbClr val="FF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1197" y="4988069"/>
            <a:ext cx="2585786" cy="185450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5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5956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794"/>
            <a:ext cx="6096000" cy="6856413"/>
          </a:xfrm>
          <a:prstGeom prst="rect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4412" y="0"/>
            <a:ext cx="6094413" cy="68580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3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51966" y="2980944"/>
            <a:ext cx="3630168" cy="896112"/>
          </a:xfrm>
          <a:prstGeom prst="rect">
            <a:avLst/>
          </a:prstGeom>
        </p:spPr>
        <p:txBody>
          <a:bodyPr anchor="ctr"/>
          <a:lstStyle>
            <a:lvl1pPr algn="ctr">
              <a:defRPr sz="3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0331834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181800" y="1853184"/>
            <a:ext cx="962917" cy="963168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9184280" y="3852672"/>
            <a:ext cx="962917" cy="963168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2653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180251" y="1395984"/>
            <a:ext cx="1828324" cy="1828800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894117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999484" y="2231136"/>
            <a:ext cx="2395104" cy="2395728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53268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1600200"/>
            <a:ext cx="12188825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7913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094412" y="1600200"/>
            <a:ext cx="6094413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891970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1600200"/>
            <a:ext cx="6094413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89348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G-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4412" y="0"/>
            <a:ext cx="6094413" cy="68580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834950923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SLIDE OPT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4413" cy="68580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5" name="Title 7"/>
          <p:cNvSpPr>
            <a:spLocks noGrp="1"/>
          </p:cNvSpPr>
          <p:nvPr>
            <p:ph type="title" hasCustomPrompt="1"/>
          </p:nvPr>
        </p:nvSpPr>
        <p:spPr>
          <a:xfrm>
            <a:off x="6703854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99693045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736907" y="2170176"/>
            <a:ext cx="1694247" cy="301752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20571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3694738" y="4947178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 algn="l"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824743" y="2899134"/>
            <a:ext cx="6376687" cy="143133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6"/>
          <p:cNvSpPr/>
          <p:nvPr userDrawn="1"/>
        </p:nvSpPr>
        <p:spPr>
          <a:xfrm rot="10800000">
            <a:off x="0" y="0"/>
            <a:ext cx="3428107" cy="3429000"/>
          </a:xfrm>
          <a:custGeom>
            <a:avLst/>
            <a:gdLst>
              <a:gd name="connsiteX0" fmla="*/ 5143500 w 5143500"/>
              <a:gd name="connsiteY0" fmla="*/ 0 h 5143500"/>
              <a:gd name="connsiteX1" fmla="*/ 5143500 w 5143500"/>
              <a:gd name="connsiteY1" fmla="*/ 5143500 h 5143500"/>
              <a:gd name="connsiteX2" fmla="*/ 0 w 5143500"/>
              <a:gd name="connsiteY2" fmla="*/ 5143500 h 5143500"/>
              <a:gd name="connsiteX3" fmla="*/ 5143500 w 5143500"/>
              <a:gd name="connsiteY3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3500" h="5143500">
                <a:moveTo>
                  <a:pt x="5143500" y="0"/>
                </a:moveTo>
                <a:lnTo>
                  <a:pt x="5143500" y="5143500"/>
                </a:lnTo>
                <a:lnTo>
                  <a:pt x="0" y="5143500"/>
                </a:lnTo>
                <a:cubicBezTo>
                  <a:pt x="0" y="2302823"/>
                  <a:pt x="2302823" y="0"/>
                  <a:pt x="5143500" y="0"/>
                </a:cubicBezTo>
                <a:close/>
              </a:path>
            </a:pathLst>
          </a:cu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rgbClr val="FF0000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1197" y="457184"/>
            <a:ext cx="2585786" cy="185450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5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78171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3425060" y="2432304"/>
            <a:ext cx="1383432" cy="2505456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042144" y="2432304"/>
            <a:ext cx="1383432" cy="2505456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2108667" y="2237232"/>
            <a:ext cx="1615019" cy="2877312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813172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736908" y="1999488"/>
            <a:ext cx="2486520" cy="332232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88229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767380" y="1993392"/>
            <a:ext cx="4266089" cy="2627376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64779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2291499" y="2036064"/>
            <a:ext cx="3516476" cy="2170176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647077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413904" y="1969008"/>
            <a:ext cx="4345316" cy="2487168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62576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 OPT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334676" y="1859280"/>
            <a:ext cx="4784114" cy="2737104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6213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 OPT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973557" y="1627632"/>
            <a:ext cx="3802913" cy="216408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437765" y="3835400"/>
            <a:ext cx="457081" cy="810768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8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126434" y="3169920"/>
            <a:ext cx="1096994" cy="1450848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7368145" y="2889504"/>
            <a:ext cx="2590125" cy="1603248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09179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 OPT-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870985" y="2133600"/>
            <a:ext cx="2590125" cy="2590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37995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 OPT-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8825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285921" y="2145792"/>
            <a:ext cx="1615019" cy="2877312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 dirty="0"/>
            </a:lvl1pPr>
          </a:lstStyle>
          <a:p>
            <a:pPr marL="0" lvl="0" indent="0" algn="ctr">
              <a:buNone/>
            </a:pP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71615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 OPT-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8825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267638" y="2389632"/>
            <a:ext cx="1462659" cy="2590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644459" y="2389632"/>
            <a:ext cx="1462659" cy="2590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2346349" y="2176272"/>
            <a:ext cx="1694247" cy="301752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25685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4900923" y="4947178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 algn="r"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936608" y="2899134"/>
            <a:ext cx="6376687" cy="143133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reeform 4"/>
          <p:cNvSpPr/>
          <p:nvPr userDrawn="1"/>
        </p:nvSpPr>
        <p:spPr>
          <a:xfrm rot="16200000">
            <a:off x="8779317" y="447"/>
            <a:ext cx="3429000" cy="3428107"/>
          </a:xfrm>
          <a:custGeom>
            <a:avLst/>
            <a:gdLst>
              <a:gd name="connsiteX0" fmla="*/ 5143500 w 5143500"/>
              <a:gd name="connsiteY0" fmla="*/ 0 h 5143500"/>
              <a:gd name="connsiteX1" fmla="*/ 5143500 w 5143500"/>
              <a:gd name="connsiteY1" fmla="*/ 5143500 h 5143500"/>
              <a:gd name="connsiteX2" fmla="*/ 0 w 5143500"/>
              <a:gd name="connsiteY2" fmla="*/ 5143500 h 5143500"/>
              <a:gd name="connsiteX3" fmla="*/ 5143500 w 5143500"/>
              <a:gd name="connsiteY3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3500" h="5143500">
                <a:moveTo>
                  <a:pt x="5143500" y="0"/>
                </a:moveTo>
                <a:lnTo>
                  <a:pt x="5143500" y="5143500"/>
                </a:lnTo>
                <a:lnTo>
                  <a:pt x="0" y="5143500"/>
                </a:lnTo>
                <a:cubicBezTo>
                  <a:pt x="0" y="2302823"/>
                  <a:pt x="2302823" y="0"/>
                  <a:pt x="5143500" y="0"/>
                </a:cubicBezTo>
                <a:close/>
              </a:path>
            </a:pathLst>
          </a:cu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rgbClr val="FF0000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154647" y="457184"/>
            <a:ext cx="2585786" cy="1854500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15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995459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 OPT-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8825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749097" y="1993392"/>
            <a:ext cx="2486520" cy="332232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 dirty="0"/>
            </a:lvl1pPr>
          </a:lstStyle>
          <a:p>
            <a:pPr marL="0" lvl="0" indent="0" algn="ctr">
              <a:buNone/>
            </a:pP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81557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 OPT-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8825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84048" y="380941"/>
            <a:ext cx="3631254" cy="477054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endParaRPr lang="uk-UA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935975" y="1752600"/>
            <a:ext cx="4316876" cy="2641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582868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 OPT-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8825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84048" y="380941"/>
            <a:ext cx="3631254" cy="477054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endParaRPr lang="uk-UA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103089" y="1859280"/>
            <a:ext cx="4643942" cy="2657856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573097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 OPT-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8825" cy="3730752"/>
          </a:xfrm>
          <a:prstGeom prst="rect">
            <a:avLst/>
          </a:prstGeom>
          <a:solidFill>
            <a:schemeClr val="tx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3230039" y="2133600"/>
            <a:ext cx="5747031" cy="323088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 dirty="0"/>
            </a:lvl1pPr>
          </a:lstStyle>
          <a:p>
            <a:pPr marL="0" lvl="0" indent="0" algn="ctr">
              <a:buNone/>
            </a:pP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53085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58197" y="1652016"/>
            <a:ext cx="6033468" cy="3998976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437340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914162" y="1600200"/>
            <a:ext cx="4875530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399133" y="1600200"/>
            <a:ext cx="4875530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472348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37982" y="1835082"/>
            <a:ext cx="3351927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998916" y="1835082"/>
            <a:ext cx="3351927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418449" y="1835082"/>
            <a:ext cx="3351927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91674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37982" y="1600200"/>
            <a:ext cx="3351927" cy="3352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998916" y="1600200"/>
            <a:ext cx="3351927" cy="3352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418449" y="1600200"/>
            <a:ext cx="3351927" cy="3352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0099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523603" y="16032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523603" y="28224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523603" y="40416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742485" y="16032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2742485" y="40416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961368" y="16032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961368" y="28224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961368" y="40416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2742485" y="28224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48509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3432048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437765" y="1600200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2437765" y="3432048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875530" y="1600200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875530" y="3432048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7313295" y="1600200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7313295" y="3432048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9751060" y="1600200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9751060" y="3432048"/>
            <a:ext cx="2437765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6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29846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7"/>
          <p:cNvSpPr>
            <a:spLocks noGrp="1"/>
          </p:cNvSpPr>
          <p:nvPr>
            <p:ph type="title" hasCustomPrompt="1"/>
          </p:nvPr>
        </p:nvSpPr>
        <p:spPr>
          <a:xfrm>
            <a:off x="4278785" y="2982724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 anchor="ctr">
            <a:spAutoFit/>
          </a:bodyPr>
          <a:lstStyle>
            <a:lvl1pPr algn="ctr"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74312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3047206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047206" y="1600200"/>
            <a:ext cx="3047206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3432048"/>
            <a:ext cx="3047206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047206" y="3432048"/>
            <a:ext cx="3047206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67673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OPT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3429000"/>
            <a:ext cx="3047206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047206" y="1600200"/>
            <a:ext cx="3047206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4413" y="3429000"/>
            <a:ext cx="3047206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141619" y="1600200"/>
            <a:ext cx="3047206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46770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68666" y="2171700"/>
            <a:ext cx="3809008" cy="2555875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19676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8518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8760718" y="3429000"/>
            <a:ext cx="3428107" cy="3429000"/>
          </a:xfrm>
          <a:custGeom>
            <a:avLst/>
            <a:gdLst>
              <a:gd name="connsiteX0" fmla="*/ 5143500 w 5143500"/>
              <a:gd name="connsiteY0" fmla="*/ 0 h 5143500"/>
              <a:gd name="connsiteX1" fmla="*/ 5143500 w 5143500"/>
              <a:gd name="connsiteY1" fmla="*/ 5143500 h 5143500"/>
              <a:gd name="connsiteX2" fmla="*/ 0 w 5143500"/>
              <a:gd name="connsiteY2" fmla="*/ 5143500 h 5143500"/>
              <a:gd name="connsiteX3" fmla="*/ 5143500 w 5143500"/>
              <a:gd name="connsiteY3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3500" h="5143500">
                <a:moveTo>
                  <a:pt x="5143500" y="0"/>
                </a:moveTo>
                <a:lnTo>
                  <a:pt x="5143500" y="5143500"/>
                </a:lnTo>
                <a:lnTo>
                  <a:pt x="0" y="5143500"/>
                </a:lnTo>
                <a:cubicBezTo>
                  <a:pt x="0" y="2302823"/>
                  <a:pt x="2302823" y="0"/>
                  <a:pt x="5143500" y="0"/>
                </a:cubicBezTo>
                <a:close/>
              </a:path>
            </a:pathLst>
          </a:cu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4900923" y="910015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 algn="r"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992038" y="3106158"/>
            <a:ext cx="6376687" cy="143133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161585" y="4988069"/>
            <a:ext cx="2585786" cy="1854500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15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967371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3694738" y="910015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 algn="l"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824743" y="3106158"/>
            <a:ext cx="6376687" cy="143133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reeform 4"/>
          <p:cNvSpPr/>
          <p:nvPr userDrawn="1"/>
        </p:nvSpPr>
        <p:spPr>
          <a:xfrm rot="5400000">
            <a:off x="-446" y="3429447"/>
            <a:ext cx="3429000" cy="3428107"/>
          </a:xfrm>
          <a:custGeom>
            <a:avLst/>
            <a:gdLst>
              <a:gd name="connsiteX0" fmla="*/ 5143500 w 5143500"/>
              <a:gd name="connsiteY0" fmla="*/ 0 h 5143500"/>
              <a:gd name="connsiteX1" fmla="*/ 5143500 w 5143500"/>
              <a:gd name="connsiteY1" fmla="*/ 5143500 h 5143500"/>
              <a:gd name="connsiteX2" fmla="*/ 0 w 5143500"/>
              <a:gd name="connsiteY2" fmla="*/ 5143500 h 5143500"/>
              <a:gd name="connsiteX3" fmla="*/ 5143500 w 5143500"/>
              <a:gd name="connsiteY3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3500" h="5143500">
                <a:moveTo>
                  <a:pt x="5143500" y="0"/>
                </a:moveTo>
                <a:lnTo>
                  <a:pt x="5143500" y="5143500"/>
                </a:lnTo>
                <a:lnTo>
                  <a:pt x="0" y="5143500"/>
                </a:lnTo>
                <a:cubicBezTo>
                  <a:pt x="0" y="2302823"/>
                  <a:pt x="2302823" y="0"/>
                  <a:pt x="5143500" y="0"/>
                </a:cubicBezTo>
                <a:close/>
              </a:path>
            </a:pathLst>
          </a:cu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rgbClr val="FF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1197" y="4988069"/>
            <a:ext cx="2585786" cy="185450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5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122786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3694738" y="4947178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 algn="l"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824743" y="2899134"/>
            <a:ext cx="6376687" cy="143133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6"/>
          <p:cNvSpPr/>
          <p:nvPr userDrawn="1"/>
        </p:nvSpPr>
        <p:spPr>
          <a:xfrm rot="10800000">
            <a:off x="0" y="0"/>
            <a:ext cx="3428107" cy="3429000"/>
          </a:xfrm>
          <a:custGeom>
            <a:avLst/>
            <a:gdLst>
              <a:gd name="connsiteX0" fmla="*/ 5143500 w 5143500"/>
              <a:gd name="connsiteY0" fmla="*/ 0 h 5143500"/>
              <a:gd name="connsiteX1" fmla="*/ 5143500 w 5143500"/>
              <a:gd name="connsiteY1" fmla="*/ 5143500 h 5143500"/>
              <a:gd name="connsiteX2" fmla="*/ 0 w 5143500"/>
              <a:gd name="connsiteY2" fmla="*/ 5143500 h 5143500"/>
              <a:gd name="connsiteX3" fmla="*/ 5143500 w 5143500"/>
              <a:gd name="connsiteY3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3500" h="5143500">
                <a:moveTo>
                  <a:pt x="5143500" y="0"/>
                </a:moveTo>
                <a:lnTo>
                  <a:pt x="5143500" y="5143500"/>
                </a:lnTo>
                <a:lnTo>
                  <a:pt x="0" y="5143500"/>
                </a:lnTo>
                <a:cubicBezTo>
                  <a:pt x="0" y="2302823"/>
                  <a:pt x="2302823" y="0"/>
                  <a:pt x="5143500" y="0"/>
                </a:cubicBezTo>
                <a:close/>
              </a:path>
            </a:pathLst>
          </a:cu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rgbClr val="FF0000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1197" y="457184"/>
            <a:ext cx="2585786" cy="1854500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5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8590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4900923" y="4947178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 algn="r"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936608" y="2899134"/>
            <a:ext cx="6376687" cy="143133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reeform 4"/>
          <p:cNvSpPr/>
          <p:nvPr userDrawn="1"/>
        </p:nvSpPr>
        <p:spPr>
          <a:xfrm rot="16200000">
            <a:off x="8779317" y="447"/>
            <a:ext cx="3429000" cy="3428107"/>
          </a:xfrm>
          <a:custGeom>
            <a:avLst/>
            <a:gdLst>
              <a:gd name="connsiteX0" fmla="*/ 5143500 w 5143500"/>
              <a:gd name="connsiteY0" fmla="*/ 0 h 5143500"/>
              <a:gd name="connsiteX1" fmla="*/ 5143500 w 5143500"/>
              <a:gd name="connsiteY1" fmla="*/ 5143500 h 5143500"/>
              <a:gd name="connsiteX2" fmla="*/ 0 w 5143500"/>
              <a:gd name="connsiteY2" fmla="*/ 5143500 h 5143500"/>
              <a:gd name="connsiteX3" fmla="*/ 5143500 w 5143500"/>
              <a:gd name="connsiteY3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3500" h="5143500">
                <a:moveTo>
                  <a:pt x="5143500" y="0"/>
                </a:moveTo>
                <a:lnTo>
                  <a:pt x="5143500" y="5143500"/>
                </a:lnTo>
                <a:lnTo>
                  <a:pt x="0" y="5143500"/>
                </a:lnTo>
                <a:cubicBezTo>
                  <a:pt x="0" y="2302823"/>
                  <a:pt x="2302823" y="0"/>
                  <a:pt x="5143500" y="0"/>
                </a:cubicBezTo>
                <a:close/>
              </a:path>
            </a:pathLst>
          </a:cu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rgbClr val="FF0000"/>
              </a:solidFill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154647" y="457184"/>
            <a:ext cx="2585786" cy="1854500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15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806868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FG Blue">
    <p:bg>
      <p:bgPr>
        <a:solidFill>
          <a:srgbClr val="0093D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329238"/>
            <a:ext cx="12188825" cy="15287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1138679"/>
            <a:ext cx="7313295" cy="27432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48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162" y="4136354"/>
            <a:ext cx="7313295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153" y="5726619"/>
            <a:ext cx="2149855" cy="805439"/>
          </a:xfrm>
          <a:prstGeom prst="rect">
            <a:avLst/>
          </a:prstGeom>
        </p:spPr>
      </p:pic>
      <p:sp>
        <p:nvSpPr>
          <p:cNvPr id="7" name="AutoShape 3"/>
          <p:cNvSpPr>
            <a:spLocks noChangeAspect="1" noChangeArrowheads="1" noTextEdit="1"/>
          </p:cNvSpPr>
          <p:nvPr userDrawn="1"/>
        </p:nvSpPr>
        <p:spPr bwMode="auto">
          <a:xfrm>
            <a:off x="3240088" y="0"/>
            <a:ext cx="5708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31" name="Group 230"/>
          <p:cNvGrpSpPr/>
          <p:nvPr userDrawn="1"/>
        </p:nvGrpSpPr>
        <p:grpSpPr>
          <a:xfrm>
            <a:off x="6515100" y="-1015445"/>
            <a:ext cx="6160633" cy="7407834"/>
            <a:chOff x="5548224" y="-1015446"/>
            <a:chExt cx="7489459" cy="9005677"/>
          </a:xfrm>
        </p:grpSpPr>
        <p:sp>
          <p:nvSpPr>
            <p:cNvPr id="121" name="Freeform 5"/>
            <p:cNvSpPr>
              <a:spLocks/>
            </p:cNvSpPr>
            <p:nvPr userDrawn="1"/>
          </p:nvSpPr>
          <p:spPr bwMode="auto">
            <a:xfrm>
              <a:off x="11129911" y="515353"/>
              <a:ext cx="410296" cy="533176"/>
            </a:xfrm>
            <a:custGeom>
              <a:avLst/>
              <a:gdLst>
                <a:gd name="T0" fmla="*/ 101 w 110"/>
                <a:gd name="T1" fmla="*/ 85 h 143"/>
                <a:gd name="T2" fmla="*/ 41 w 110"/>
                <a:gd name="T3" fmla="*/ 137 h 143"/>
                <a:gd name="T4" fmla="*/ 8 w 110"/>
                <a:gd name="T5" fmla="*/ 61 h 143"/>
                <a:gd name="T6" fmla="*/ 70 w 110"/>
                <a:gd name="T7" fmla="*/ 7 h 143"/>
                <a:gd name="T8" fmla="*/ 101 w 110"/>
                <a:gd name="T9" fmla="*/ 8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43">
                  <a:moveTo>
                    <a:pt x="101" y="85"/>
                  </a:moveTo>
                  <a:cubicBezTo>
                    <a:pt x="92" y="120"/>
                    <a:pt x="66" y="143"/>
                    <a:pt x="41" y="137"/>
                  </a:cubicBezTo>
                  <a:cubicBezTo>
                    <a:pt x="15" y="131"/>
                    <a:pt x="0" y="97"/>
                    <a:pt x="8" y="61"/>
                  </a:cubicBezTo>
                  <a:cubicBezTo>
                    <a:pt x="16" y="24"/>
                    <a:pt x="44" y="0"/>
                    <a:pt x="70" y="7"/>
                  </a:cubicBezTo>
                  <a:cubicBezTo>
                    <a:pt x="96" y="14"/>
                    <a:pt x="110" y="49"/>
                    <a:pt x="101" y="85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6"/>
            <p:cNvSpPr>
              <a:spLocks/>
            </p:cNvSpPr>
            <p:nvPr userDrawn="1"/>
          </p:nvSpPr>
          <p:spPr bwMode="auto">
            <a:xfrm>
              <a:off x="10515510" y="442457"/>
              <a:ext cx="408213" cy="524845"/>
            </a:xfrm>
            <a:custGeom>
              <a:avLst/>
              <a:gdLst>
                <a:gd name="T0" fmla="*/ 108 w 110"/>
                <a:gd name="T1" fmla="*/ 73 h 141"/>
                <a:gd name="T2" fmla="*/ 52 w 110"/>
                <a:gd name="T3" fmla="*/ 141 h 141"/>
                <a:gd name="T4" fmla="*/ 1 w 110"/>
                <a:gd name="T5" fmla="*/ 72 h 141"/>
                <a:gd name="T6" fmla="*/ 59 w 110"/>
                <a:gd name="T7" fmla="*/ 1 h 141"/>
                <a:gd name="T8" fmla="*/ 108 w 110"/>
                <a:gd name="T9" fmla="*/ 7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41">
                  <a:moveTo>
                    <a:pt x="108" y="73"/>
                  </a:moveTo>
                  <a:cubicBezTo>
                    <a:pt x="106" y="111"/>
                    <a:pt x="81" y="140"/>
                    <a:pt x="52" y="141"/>
                  </a:cubicBezTo>
                  <a:cubicBezTo>
                    <a:pt x="23" y="141"/>
                    <a:pt x="0" y="110"/>
                    <a:pt x="1" y="72"/>
                  </a:cubicBezTo>
                  <a:cubicBezTo>
                    <a:pt x="3" y="32"/>
                    <a:pt x="28" y="0"/>
                    <a:pt x="59" y="1"/>
                  </a:cubicBezTo>
                  <a:cubicBezTo>
                    <a:pt x="89" y="2"/>
                    <a:pt x="110" y="34"/>
                    <a:pt x="108" y="73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7"/>
            <p:cNvSpPr>
              <a:spLocks/>
            </p:cNvSpPr>
            <p:nvPr userDrawn="1"/>
          </p:nvSpPr>
          <p:spPr bwMode="auto">
            <a:xfrm>
              <a:off x="9799054" y="486195"/>
              <a:ext cx="470695" cy="581079"/>
            </a:xfrm>
            <a:custGeom>
              <a:avLst/>
              <a:gdLst>
                <a:gd name="T0" fmla="*/ 121 w 126"/>
                <a:gd name="T1" fmla="*/ 67 h 156"/>
                <a:gd name="T2" fmla="*/ 76 w 126"/>
                <a:gd name="T3" fmla="*/ 149 h 156"/>
                <a:gd name="T4" fmla="*/ 7 w 126"/>
                <a:gd name="T5" fmla="*/ 91 h 156"/>
                <a:gd name="T6" fmla="*/ 54 w 126"/>
                <a:gd name="T7" fmla="*/ 6 h 156"/>
                <a:gd name="T8" fmla="*/ 121 w 126"/>
                <a:gd name="T9" fmla="*/ 67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56">
                  <a:moveTo>
                    <a:pt x="121" y="67"/>
                  </a:moveTo>
                  <a:cubicBezTo>
                    <a:pt x="126" y="106"/>
                    <a:pt x="106" y="142"/>
                    <a:pt x="76" y="149"/>
                  </a:cubicBezTo>
                  <a:cubicBezTo>
                    <a:pt x="45" y="156"/>
                    <a:pt x="14" y="130"/>
                    <a:pt x="7" y="91"/>
                  </a:cubicBezTo>
                  <a:cubicBezTo>
                    <a:pt x="0" y="51"/>
                    <a:pt x="21" y="12"/>
                    <a:pt x="54" y="6"/>
                  </a:cubicBezTo>
                  <a:cubicBezTo>
                    <a:pt x="86" y="0"/>
                    <a:pt x="116" y="27"/>
                    <a:pt x="121" y="67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8"/>
            <p:cNvSpPr>
              <a:spLocks/>
            </p:cNvSpPr>
            <p:nvPr userDrawn="1"/>
          </p:nvSpPr>
          <p:spPr bwMode="auto">
            <a:xfrm>
              <a:off x="9065937" y="698632"/>
              <a:ext cx="531094" cy="610237"/>
            </a:xfrm>
            <a:custGeom>
              <a:avLst/>
              <a:gdLst>
                <a:gd name="T0" fmla="*/ 129 w 143"/>
                <a:gd name="T1" fmla="*/ 59 h 164"/>
                <a:gd name="T2" fmla="*/ 99 w 143"/>
                <a:gd name="T3" fmla="*/ 150 h 164"/>
                <a:gd name="T4" fmla="*/ 16 w 143"/>
                <a:gd name="T5" fmla="*/ 110 h 164"/>
                <a:gd name="T6" fmla="*/ 45 w 143"/>
                <a:gd name="T7" fmla="*/ 14 h 164"/>
                <a:gd name="T8" fmla="*/ 129 w 143"/>
                <a:gd name="T9" fmla="*/ 5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64">
                  <a:moveTo>
                    <a:pt x="129" y="59"/>
                  </a:moveTo>
                  <a:cubicBezTo>
                    <a:pt x="143" y="96"/>
                    <a:pt x="129" y="137"/>
                    <a:pt x="99" y="150"/>
                  </a:cubicBezTo>
                  <a:cubicBezTo>
                    <a:pt x="68" y="164"/>
                    <a:pt x="31" y="147"/>
                    <a:pt x="16" y="110"/>
                  </a:cubicBezTo>
                  <a:cubicBezTo>
                    <a:pt x="0" y="72"/>
                    <a:pt x="13" y="28"/>
                    <a:pt x="45" y="14"/>
                  </a:cubicBezTo>
                  <a:cubicBezTo>
                    <a:pt x="78" y="0"/>
                    <a:pt x="116" y="20"/>
                    <a:pt x="129" y="59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9"/>
            <p:cNvSpPr>
              <a:spLocks/>
            </p:cNvSpPr>
            <p:nvPr userDrawn="1"/>
          </p:nvSpPr>
          <p:spPr bwMode="auto">
            <a:xfrm>
              <a:off x="8376556" y="1090184"/>
              <a:ext cx="562334" cy="603989"/>
            </a:xfrm>
            <a:custGeom>
              <a:avLst/>
              <a:gdLst>
                <a:gd name="T0" fmla="*/ 129 w 151"/>
                <a:gd name="T1" fmla="*/ 46 h 162"/>
                <a:gd name="T2" fmla="*/ 117 w 151"/>
                <a:gd name="T3" fmla="*/ 142 h 162"/>
                <a:gd name="T4" fmla="*/ 24 w 151"/>
                <a:gd name="T5" fmla="*/ 121 h 162"/>
                <a:gd name="T6" fmla="*/ 34 w 151"/>
                <a:gd name="T7" fmla="*/ 21 h 162"/>
                <a:gd name="T8" fmla="*/ 129 w 151"/>
                <a:gd name="T9" fmla="*/ 4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162">
                  <a:moveTo>
                    <a:pt x="129" y="46"/>
                  </a:moveTo>
                  <a:cubicBezTo>
                    <a:pt x="151" y="79"/>
                    <a:pt x="145" y="122"/>
                    <a:pt x="117" y="142"/>
                  </a:cubicBezTo>
                  <a:cubicBezTo>
                    <a:pt x="89" y="162"/>
                    <a:pt x="48" y="153"/>
                    <a:pt x="24" y="121"/>
                  </a:cubicBezTo>
                  <a:cubicBezTo>
                    <a:pt x="0" y="87"/>
                    <a:pt x="4" y="42"/>
                    <a:pt x="34" y="21"/>
                  </a:cubicBezTo>
                  <a:cubicBezTo>
                    <a:pt x="64" y="0"/>
                    <a:pt x="106" y="11"/>
                    <a:pt x="129" y="46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0"/>
            <p:cNvSpPr>
              <a:spLocks/>
            </p:cNvSpPr>
            <p:nvPr userDrawn="1"/>
          </p:nvSpPr>
          <p:spPr bwMode="auto">
            <a:xfrm>
              <a:off x="7772568" y="1629607"/>
              <a:ext cx="585245" cy="560252"/>
            </a:xfrm>
            <a:custGeom>
              <a:avLst/>
              <a:gdLst>
                <a:gd name="T0" fmla="*/ 124 w 157"/>
                <a:gd name="T1" fmla="*/ 31 h 150"/>
                <a:gd name="T2" fmla="*/ 133 w 157"/>
                <a:gd name="T3" fmla="*/ 125 h 150"/>
                <a:gd name="T4" fmla="*/ 37 w 157"/>
                <a:gd name="T5" fmla="*/ 124 h 150"/>
                <a:gd name="T6" fmla="*/ 24 w 157"/>
                <a:gd name="T7" fmla="*/ 27 h 150"/>
                <a:gd name="T8" fmla="*/ 124 w 157"/>
                <a:gd name="T9" fmla="*/ 3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50">
                  <a:moveTo>
                    <a:pt x="124" y="31"/>
                  </a:moveTo>
                  <a:cubicBezTo>
                    <a:pt x="153" y="58"/>
                    <a:pt x="157" y="100"/>
                    <a:pt x="133" y="125"/>
                  </a:cubicBezTo>
                  <a:cubicBezTo>
                    <a:pt x="110" y="150"/>
                    <a:pt x="67" y="149"/>
                    <a:pt x="37" y="124"/>
                  </a:cubicBezTo>
                  <a:cubicBezTo>
                    <a:pt x="6" y="97"/>
                    <a:pt x="0" y="54"/>
                    <a:pt x="24" y="27"/>
                  </a:cubicBezTo>
                  <a:cubicBezTo>
                    <a:pt x="49" y="0"/>
                    <a:pt x="94" y="2"/>
                    <a:pt x="124" y="31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1"/>
            <p:cNvSpPr>
              <a:spLocks/>
            </p:cNvSpPr>
            <p:nvPr userDrawn="1"/>
          </p:nvSpPr>
          <p:spPr bwMode="auto">
            <a:xfrm>
              <a:off x="12764846" y="3102090"/>
              <a:ext cx="239513" cy="283250"/>
            </a:xfrm>
            <a:custGeom>
              <a:avLst/>
              <a:gdLst>
                <a:gd name="T0" fmla="*/ 38 w 64"/>
                <a:gd name="T1" fmla="*/ 6 h 76"/>
                <a:gd name="T2" fmla="*/ 61 w 64"/>
                <a:gd name="T3" fmla="*/ 27 h 76"/>
                <a:gd name="T4" fmla="*/ 27 w 64"/>
                <a:gd name="T5" fmla="*/ 70 h 76"/>
                <a:gd name="T6" fmla="*/ 3 w 64"/>
                <a:gd name="T7" fmla="*/ 50 h 76"/>
                <a:gd name="T8" fmla="*/ 38 w 64"/>
                <a:gd name="T9" fmla="*/ 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76">
                  <a:moveTo>
                    <a:pt x="38" y="6"/>
                  </a:moveTo>
                  <a:cubicBezTo>
                    <a:pt x="54" y="0"/>
                    <a:pt x="64" y="9"/>
                    <a:pt x="61" y="27"/>
                  </a:cubicBezTo>
                  <a:cubicBezTo>
                    <a:pt x="58" y="45"/>
                    <a:pt x="43" y="64"/>
                    <a:pt x="27" y="70"/>
                  </a:cubicBezTo>
                  <a:cubicBezTo>
                    <a:pt x="11" y="76"/>
                    <a:pt x="0" y="68"/>
                    <a:pt x="3" y="50"/>
                  </a:cubicBezTo>
                  <a:cubicBezTo>
                    <a:pt x="6" y="32"/>
                    <a:pt x="21" y="12"/>
                    <a:pt x="38" y="6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2"/>
            <p:cNvSpPr>
              <a:spLocks/>
            </p:cNvSpPr>
            <p:nvPr userDrawn="1"/>
          </p:nvSpPr>
          <p:spPr bwMode="auto">
            <a:xfrm>
              <a:off x="12802335" y="2681381"/>
              <a:ext cx="235348" cy="320739"/>
            </a:xfrm>
            <a:custGeom>
              <a:avLst/>
              <a:gdLst>
                <a:gd name="T0" fmla="*/ 31 w 63"/>
                <a:gd name="T1" fmla="*/ 10 h 86"/>
                <a:gd name="T2" fmla="*/ 62 w 63"/>
                <a:gd name="T3" fmla="*/ 27 h 86"/>
                <a:gd name="T4" fmla="*/ 31 w 63"/>
                <a:gd name="T5" fmla="*/ 76 h 86"/>
                <a:gd name="T6" fmla="*/ 0 w 63"/>
                <a:gd name="T7" fmla="*/ 61 h 86"/>
                <a:gd name="T8" fmla="*/ 31 w 63"/>
                <a:gd name="T9" fmla="*/ 1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86">
                  <a:moveTo>
                    <a:pt x="31" y="10"/>
                  </a:moveTo>
                  <a:cubicBezTo>
                    <a:pt x="49" y="0"/>
                    <a:pt x="63" y="8"/>
                    <a:pt x="62" y="27"/>
                  </a:cubicBezTo>
                  <a:cubicBezTo>
                    <a:pt x="62" y="45"/>
                    <a:pt x="48" y="67"/>
                    <a:pt x="31" y="76"/>
                  </a:cubicBezTo>
                  <a:cubicBezTo>
                    <a:pt x="14" y="86"/>
                    <a:pt x="0" y="79"/>
                    <a:pt x="0" y="61"/>
                  </a:cubicBezTo>
                  <a:cubicBezTo>
                    <a:pt x="0" y="43"/>
                    <a:pt x="14" y="20"/>
                    <a:pt x="31" y="10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3"/>
            <p:cNvSpPr>
              <a:spLocks/>
            </p:cNvSpPr>
            <p:nvPr userDrawn="1"/>
          </p:nvSpPr>
          <p:spPr bwMode="auto">
            <a:xfrm>
              <a:off x="12750266" y="2256506"/>
              <a:ext cx="268671" cy="349897"/>
            </a:xfrm>
            <a:custGeom>
              <a:avLst/>
              <a:gdLst>
                <a:gd name="T0" fmla="*/ 30 w 72"/>
                <a:gd name="T1" fmla="*/ 14 h 94"/>
                <a:gd name="T2" fmla="*/ 69 w 72"/>
                <a:gd name="T3" fmla="*/ 24 h 94"/>
                <a:gd name="T4" fmla="*/ 42 w 72"/>
                <a:gd name="T5" fmla="*/ 81 h 94"/>
                <a:gd name="T6" fmla="*/ 4 w 72"/>
                <a:gd name="T7" fmla="*/ 72 h 94"/>
                <a:gd name="T8" fmla="*/ 30 w 72"/>
                <a:gd name="T9" fmla="*/ 1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94">
                  <a:moveTo>
                    <a:pt x="30" y="14"/>
                  </a:moveTo>
                  <a:cubicBezTo>
                    <a:pt x="49" y="0"/>
                    <a:pt x="66" y="5"/>
                    <a:pt x="69" y="24"/>
                  </a:cubicBezTo>
                  <a:cubicBezTo>
                    <a:pt x="72" y="42"/>
                    <a:pt x="60" y="68"/>
                    <a:pt x="42" y="81"/>
                  </a:cubicBezTo>
                  <a:cubicBezTo>
                    <a:pt x="24" y="94"/>
                    <a:pt x="7" y="90"/>
                    <a:pt x="4" y="72"/>
                  </a:cubicBezTo>
                  <a:cubicBezTo>
                    <a:pt x="0" y="53"/>
                    <a:pt x="12" y="27"/>
                    <a:pt x="30" y="14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4"/>
            <p:cNvSpPr>
              <a:spLocks/>
            </p:cNvSpPr>
            <p:nvPr userDrawn="1"/>
          </p:nvSpPr>
          <p:spPr bwMode="auto">
            <a:xfrm>
              <a:off x="12623221" y="1835797"/>
              <a:ext cx="297829" cy="374889"/>
            </a:xfrm>
            <a:custGeom>
              <a:avLst/>
              <a:gdLst>
                <a:gd name="T0" fmla="*/ 27 w 80"/>
                <a:gd name="T1" fmla="*/ 18 h 101"/>
                <a:gd name="T2" fmla="*/ 73 w 80"/>
                <a:gd name="T3" fmla="*/ 19 h 101"/>
                <a:gd name="T4" fmla="*/ 53 w 80"/>
                <a:gd name="T5" fmla="*/ 83 h 101"/>
                <a:gd name="T6" fmla="*/ 7 w 80"/>
                <a:gd name="T7" fmla="*/ 83 h 101"/>
                <a:gd name="T8" fmla="*/ 27 w 80"/>
                <a:gd name="T9" fmla="*/ 1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101">
                  <a:moveTo>
                    <a:pt x="27" y="18"/>
                  </a:moveTo>
                  <a:cubicBezTo>
                    <a:pt x="46" y="0"/>
                    <a:pt x="67" y="1"/>
                    <a:pt x="73" y="19"/>
                  </a:cubicBezTo>
                  <a:cubicBezTo>
                    <a:pt x="80" y="38"/>
                    <a:pt x="71" y="66"/>
                    <a:pt x="53" y="83"/>
                  </a:cubicBezTo>
                  <a:cubicBezTo>
                    <a:pt x="35" y="101"/>
                    <a:pt x="15" y="100"/>
                    <a:pt x="7" y="83"/>
                  </a:cubicBezTo>
                  <a:cubicBezTo>
                    <a:pt x="0" y="65"/>
                    <a:pt x="9" y="36"/>
                    <a:pt x="27" y="18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5"/>
            <p:cNvSpPr>
              <a:spLocks/>
            </p:cNvSpPr>
            <p:nvPr userDrawn="1"/>
          </p:nvSpPr>
          <p:spPr bwMode="auto">
            <a:xfrm>
              <a:off x="12406618" y="1417170"/>
              <a:ext cx="324904" cy="424875"/>
            </a:xfrm>
            <a:custGeom>
              <a:avLst/>
              <a:gdLst>
                <a:gd name="T0" fmla="*/ 23 w 87"/>
                <a:gd name="T1" fmla="*/ 27 h 114"/>
                <a:gd name="T2" fmla="*/ 76 w 87"/>
                <a:gd name="T3" fmla="*/ 18 h 114"/>
                <a:gd name="T4" fmla="*/ 64 w 87"/>
                <a:gd name="T5" fmla="*/ 88 h 114"/>
                <a:gd name="T6" fmla="*/ 12 w 87"/>
                <a:gd name="T7" fmla="*/ 98 h 114"/>
                <a:gd name="T8" fmla="*/ 23 w 87"/>
                <a:gd name="T9" fmla="*/ 2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4">
                  <a:moveTo>
                    <a:pt x="23" y="27"/>
                  </a:moveTo>
                  <a:cubicBezTo>
                    <a:pt x="41" y="4"/>
                    <a:pt x="65" y="0"/>
                    <a:pt x="76" y="18"/>
                  </a:cubicBezTo>
                  <a:cubicBezTo>
                    <a:pt x="87" y="35"/>
                    <a:pt x="81" y="67"/>
                    <a:pt x="64" y="88"/>
                  </a:cubicBezTo>
                  <a:cubicBezTo>
                    <a:pt x="47" y="110"/>
                    <a:pt x="24" y="114"/>
                    <a:pt x="12" y="98"/>
                  </a:cubicBezTo>
                  <a:cubicBezTo>
                    <a:pt x="0" y="82"/>
                    <a:pt x="5" y="50"/>
                    <a:pt x="23" y="27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6"/>
            <p:cNvSpPr>
              <a:spLocks/>
            </p:cNvSpPr>
            <p:nvPr userDrawn="1"/>
          </p:nvSpPr>
          <p:spPr bwMode="auto">
            <a:xfrm>
              <a:off x="12094211" y="1038115"/>
              <a:ext cx="339484" cy="476943"/>
            </a:xfrm>
            <a:custGeom>
              <a:avLst/>
              <a:gdLst>
                <a:gd name="T0" fmla="*/ 17 w 91"/>
                <a:gd name="T1" fmla="*/ 38 h 128"/>
                <a:gd name="T2" fmla="*/ 76 w 91"/>
                <a:gd name="T3" fmla="*/ 16 h 128"/>
                <a:gd name="T4" fmla="*/ 75 w 91"/>
                <a:gd name="T5" fmla="*/ 91 h 128"/>
                <a:gd name="T6" fmla="*/ 18 w 91"/>
                <a:gd name="T7" fmla="*/ 114 h 128"/>
                <a:gd name="T8" fmla="*/ 17 w 91"/>
                <a:gd name="T9" fmla="*/ 3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128">
                  <a:moveTo>
                    <a:pt x="17" y="38"/>
                  </a:moveTo>
                  <a:cubicBezTo>
                    <a:pt x="33" y="10"/>
                    <a:pt x="60" y="0"/>
                    <a:pt x="76" y="16"/>
                  </a:cubicBezTo>
                  <a:cubicBezTo>
                    <a:pt x="91" y="31"/>
                    <a:pt x="91" y="65"/>
                    <a:pt x="75" y="91"/>
                  </a:cubicBezTo>
                  <a:cubicBezTo>
                    <a:pt x="59" y="118"/>
                    <a:pt x="34" y="128"/>
                    <a:pt x="18" y="114"/>
                  </a:cubicBezTo>
                  <a:cubicBezTo>
                    <a:pt x="1" y="99"/>
                    <a:pt x="0" y="66"/>
                    <a:pt x="17" y="38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7"/>
            <p:cNvSpPr>
              <a:spLocks/>
            </p:cNvSpPr>
            <p:nvPr userDrawn="1"/>
          </p:nvSpPr>
          <p:spPr bwMode="auto">
            <a:xfrm>
              <a:off x="11663087" y="725707"/>
              <a:ext cx="379055" cy="512349"/>
            </a:xfrm>
            <a:custGeom>
              <a:avLst/>
              <a:gdLst>
                <a:gd name="T0" fmla="*/ 13 w 102"/>
                <a:gd name="T1" fmla="*/ 50 h 138"/>
                <a:gd name="T2" fmla="*/ 75 w 102"/>
                <a:gd name="T3" fmla="*/ 13 h 138"/>
                <a:gd name="T4" fmla="*/ 89 w 102"/>
                <a:gd name="T5" fmla="*/ 91 h 138"/>
                <a:gd name="T6" fmla="*/ 28 w 102"/>
                <a:gd name="T7" fmla="*/ 127 h 138"/>
                <a:gd name="T8" fmla="*/ 13 w 102"/>
                <a:gd name="T9" fmla="*/ 5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138">
                  <a:moveTo>
                    <a:pt x="13" y="50"/>
                  </a:moveTo>
                  <a:cubicBezTo>
                    <a:pt x="26" y="17"/>
                    <a:pt x="54" y="0"/>
                    <a:pt x="75" y="13"/>
                  </a:cubicBezTo>
                  <a:cubicBezTo>
                    <a:pt x="96" y="25"/>
                    <a:pt x="102" y="60"/>
                    <a:pt x="89" y="91"/>
                  </a:cubicBezTo>
                  <a:cubicBezTo>
                    <a:pt x="76" y="122"/>
                    <a:pt x="49" y="138"/>
                    <a:pt x="28" y="127"/>
                  </a:cubicBezTo>
                  <a:cubicBezTo>
                    <a:pt x="7" y="117"/>
                    <a:pt x="0" y="82"/>
                    <a:pt x="13" y="50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8"/>
            <p:cNvSpPr>
              <a:spLocks/>
            </p:cNvSpPr>
            <p:nvPr userDrawn="1"/>
          </p:nvSpPr>
          <p:spPr bwMode="auto">
            <a:xfrm>
              <a:off x="11021610" y="1235974"/>
              <a:ext cx="326988" cy="397800"/>
            </a:xfrm>
            <a:custGeom>
              <a:avLst/>
              <a:gdLst>
                <a:gd name="T0" fmla="*/ 82 w 88"/>
                <a:gd name="T1" fmla="*/ 61 h 107"/>
                <a:gd name="T2" fmla="*/ 33 w 88"/>
                <a:gd name="T3" fmla="*/ 103 h 107"/>
                <a:gd name="T4" fmla="*/ 6 w 88"/>
                <a:gd name="T5" fmla="*/ 47 h 107"/>
                <a:gd name="T6" fmla="*/ 56 w 88"/>
                <a:gd name="T7" fmla="*/ 4 h 107"/>
                <a:gd name="T8" fmla="*/ 82 w 88"/>
                <a:gd name="T9" fmla="*/ 6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07">
                  <a:moveTo>
                    <a:pt x="82" y="61"/>
                  </a:moveTo>
                  <a:cubicBezTo>
                    <a:pt x="75" y="88"/>
                    <a:pt x="54" y="107"/>
                    <a:pt x="33" y="103"/>
                  </a:cubicBezTo>
                  <a:cubicBezTo>
                    <a:pt x="12" y="100"/>
                    <a:pt x="0" y="75"/>
                    <a:pt x="6" y="47"/>
                  </a:cubicBezTo>
                  <a:cubicBezTo>
                    <a:pt x="12" y="19"/>
                    <a:pt x="34" y="0"/>
                    <a:pt x="56" y="4"/>
                  </a:cubicBezTo>
                  <a:cubicBezTo>
                    <a:pt x="77" y="8"/>
                    <a:pt x="88" y="34"/>
                    <a:pt x="82" y="61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9"/>
            <p:cNvSpPr>
              <a:spLocks/>
            </p:cNvSpPr>
            <p:nvPr userDrawn="1"/>
          </p:nvSpPr>
          <p:spPr bwMode="auto">
            <a:xfrm>
              <a:off x="10525923" y="1202650"/>
              <a:ext cx="326988" cy="397800"/>
            </a:xfrm>
            <a:custGeom>
              <a:avLst/>
              <a:gdLst>
                <a:gd name="T0" fmla="*/ 86 w 88"/>
                <a:gd name="T1" fmla="*/ 52 h 107"/>
                <a:gd name="T2" fmla="*/ 42 w 88"/>
                <a:gd name="T3" fmla="*/ 105 h 107"/>
                <a:gd name="T4" fmla="*/ 1 w 88"/>
                <a:gd name="T5" fmla="*/ 56 h 107"/>
                <a:gd name="T6" fmla="*/ 46 w 88"/>
                <a:gd name="T7" fmla="*/ 1 h 107"/>
                <a:gd name="T8" fmla="*/ 86 w 88"/>
                <a:gd name="T9" fmla="*/ 5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107">
                  <a:moveTo>
                    <a:pt x="86" y="52"/>
                  </a:moveTo>
                  <a:cubicBezTo>
                    <a:pt x="84" y="81"/>
                    <a:pt x="65" y="104"/>
                    <a:pt x="42" y="105"/>
                  </a:cubicBezTo>
                  <a:cubicBezTo>
                    <a:pt x="18" y="107"/>
                    <a:pt x="0" y="85"/>
                    <a:pt x="1" y="56"/>
                  </a:cubicBezTo>
                  <a:cubicBezTo>
                    <a:pt x="2" y="26"/>
                    <a:pt x="22" y="1"/>
                    <a:pt x="46" y="1"/>
                  </a:cubicBezTo>
                  <a:cubicBezTo>
                    <a:pt x="70" y="0"/>
                    <a:pt x="88" y="24"/>
                    <a:pt x="86" y="52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20"/>
            <p:cNvSpPr>
              <a:spLocks/>
            </p:cNvSpPr>
            <p:nvPr userDrawn="1"/>
          </p:nvSpPr>
          <p:spPr bwMode="auto">
            <a:xfrm>
              <a:off x="9959423" y="1256801"/>
              <a:ext cx="368642" cy="439454"/>
            </a:xfrm>
            <a:custGeom>
              <a:avLst/>
              <a:gdLst>
                <a:gd name="T0" fmla="*/ 96 w 99"/>
                <a:gd name="T1" fmla="*/ 49 h 118"/>
                <a:gd name="T2" fmla="*/ 59 w 99"/>
                <a:gd name="T3" fmla="*/ 112 h 118"/>
                <a:gd name="T4" fmla="*/ 6 w 99"/>
                <a:gd name="T5" fmla="*/ 71 h 118"/>
                <a:gd name="T6" fmla="*/ 43 w 99"/>
                <a:gd name="T7" fmla="*/ 6 h 118"/>
                <a:gd name="T8" fmla="*/ 96 w 99"/>
                <a:gd name="T9" fmla="*/ 49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118">
                  <a:moveTo>
                    <a:pt x="96" y="49"/>
                  </a:moveTo>
                  <a:cubicBezTo>
                    <a:pt x="99" y="77"/>
                    <a:pt x="83" y="105"/>
                    <a:pt x="59" y="112"/>
                  </a:cubicBezTo>
                  <a:cubicBezTo>
                    <a:pt x="35" y="118"/>
                    <a:pt x="11" y="100"/>
                    <a:pt x="6" y="71"/>
                  </a:cubicBezTo>
                  <a:cubicBezTo>
                    <a:pt x="0" y="42"/>
                    <a:pt x="17" y="12"/>
                    <a:pt x="43" y="6"/>
                  </a:cubicBezTo>
                  <a:cubicBezTo>
                    <a:pt x="68" y="0"/>
                    <a:pt x="92" y="20"/>
                    <a:pt x="96" y="49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21"/>
            <p:cNvSpPr>
              <a:spLocks/>
            </p:cNvSpPr>
            <p:nvPr userDrawn="1"/>
          </p:nvSpPr>
          <p:spPr bwMode="auto">
            <a:xfrm>
              <a:off x="9386676" y="1444246"/>
              <a:ext cx="412378" cy="458198"/>
            </a:xfrm>
            <a:custGeom>
              <a:avLst/>
              <a:gdLst>
                <a:gd name="T0" fmla="*/ 101 w 111"/>
                <a:gd name="T1" fmla="*/ 42 h 123"/>
                <a:gd name="T2" fmla="*/ 76 w 111"/>
                <a:gd name="T3" fmla="*/ 112 h 123"/>
                <a:gd name="T4" fmla="*/ 12 w 111"/>
                <a:gd name="T5" fmla="*/ 84 h 123"/>
                <a:gd name="T6" fmla="*/ 37 w 111"/>
                <a:gd name="T7" fmla="*/ 12 h 123"/>
                <a:gd name="T8" fmla="*/ 101 w 111"/>
                <a:gd name="T9" fmla="*/ 4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23">
                  <a:moveTo>
                    <a:pt x="101" y="42"/>
                  </a:moveTo>
                  <a:cubicBezTo>
                    <a:pt x="111" y="69"/>
                    <a:pt x="100" y="100"/>
                    <a:pt x="76" y="112"/>
                  </a:cubicBezTo>
                  <a:cubicBezTo>
                    <a:pt x="52" y="123"/>
                    <a:pt x="23" y="111"/>
                    <a:pt x="12" y="84"/>
                  </a:cubicBezTo>
                  <a:cubicBezTo>
                    <a:pt x="0" y="56"/>
                    <a:pt x="12" y="24"/>
                    <a:pt x="37" y="12"/>
                  </a:cubicBezTo>
                  <a:cubicBezTo>
                    <a:pt x="62" y="0"/>
                    <a:pt x="91" y="14"/>
                    <a:pt x="101" y="42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22"/>
            <p:cNvSpPr>
              <a:spLocks/>
            </p:cNvSpPr>
            <p:nvPr userDrawn="1"/>
          </p:nvSpPr>
          <p:spPr bwMode="auto">
            <a:xfrm>
              <a:off x="8853500" y="1760819"/>
              <a:ext cx="426958" cy="447785"/>
            </a:xfrm>
            <a:custGeom>
              <a:avLst/>
              <a:gdLst>
                <a:gd name="T0" fmla="*/ 99 w 115"/>
                <a:gd name="T1" fmla="*/ 32 h 120"/>
                <a:gd name="T2" fmla="*/ 88 w 115"/>
                <a:gd name="T3" fmla="*/ 104 h 120"/>
                <a:gd name="T4" fmla="*/ 17 w 115"/>
                <a:gd name="T5" fmla="*/ 91 h 120"/>
                <a:gd name="T6" fmla="*/ 27 w 115"/>
                <a:gd name="T7" fmla="*/ 16 h 120"/>
                <a:gd name="T8" fmla="*/ 99 w 115"/>
                <a:gd name="T9" fmla="*/ 3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20">
                  <a:moveTo>
                    <a:pt x="99" y="32"/>
                  </a:moveTo>
                  <a:cubicBezTo>
                    <a:pt x="115" y="56"/>
                    <a:pt x="110" y="88"/>
                    <a:pt x="88" y="104"/>
                  </a:cubicBezTo>
                  <a:cubicBezTo>
                    <a:pt x="66" y="120"/>
                    <a:pt x="34" y="114"/>
                    <a:pt x="17" y="91"/>
                  </a:cubicBezTo>
                  <a:cubicBezTo>
                    <a:pt x="0" y="67"/>
                    <a:pt x="4" y="33"/>
                    <a:pt x="27" y="16"/>
                  </a:cubicBezTo>
                  <a:cubicBezTo>
                    <a:pt x="50" y="0"/>
                    <a:pt x="83" y="7"/>
                    <a:pt x="99" y="32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23"/>
            <p:cNvSpPr>
              <a:spLocks/>
            </p:cNvSpPr>
            <p:nvPr userDrawn="1"/>
          </p:nvSpPr>
          <p:spPr bwMode="auto">
            <a:xfrm>
              <a:off x="8378640" y="2181528"/>
              <a:ext cx="441536" cy="416544"/>
            </a:xfrm>
            <a:custGeom>
              <a:avLst/>
              <a:gdLst>
                <a:gd name="T0" fmla="*/ 95 w 118"/>
                <a:gd name="T1" fmla="*/ 21 h 112"/>
                <a:gd name="T2" fmla="*/ 99 w 118"/>
                <a:gd name="T3" fmla="*/ 92 h 112"/>
                <a:gd name="T4" fmla="*/ 26 w 118"/>
                <a:gd name="T5" fmla="*/ 93 h 112"/>
                <a:gd name="T6" fmla="*/ 19 w 118"/>
                <a:gd name="T7" fmla="*/ 21 h 112"/>
                <a:gd name="T8" fmla="*/ 95 w 118"/>
                <a:gd name="T9" fmla="*/ 2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112">
                  <a:moveTo>
                    <a:pt x="95" y="21"/>
                  </a:moveTo>
                  <a:cubicBezTo>
                    <a:pt x="116" y="41"/>
                    <a:pt x="118" y="72"/>
                    <a:pt x="99" y="92"/>
                  </a:cubicBezTo>
                  <a:cubicBezTo>
                    <a:pt x="80" y="111"/>
                    <a:pt x="48" y="112"/>
                    <a:pt x="26" y="93"/>
                  </a:cubicBezTo>
                  <a:cubicBezTo>
                    <a:pt x="3" y="74"/>
                    <a:pt x="0" y="41"/>
                    <a:pt x="19" y="21"/>
                  </a:cubicBezTo>
                  <a:cubicBezTo>
                    <a:pt x="39" y="0"/>
                    <a:pt x="73" y="0"/>
                    <a:pt x="95" y="21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24"/>
            <p:cNvSpPr>
              <a:spLocks/>
            </p:cNvSpPr>
            <p:nvPr userDrawn="1"/>
          </p:nvSpPr>
          <p:spPr bwMode="auto">
            <a:xfrm>
              <a:off x="12481596" y="2893818"/>
              <a:ext cx="206190" cy="266588"/>
            </a:xfrm>
            <a:custGeom>
              <a:avLst/>
              <a:gdLst>
                <a:gd name="T0" fmla="*/ 27 w 55"/>
                <a:gd name="T1" fmla="*/ 8 h 72"/>
                <a:gd name="T2" fmla="*/ 55 w 55"/>
                <a:gd name="T3" fmla="*/ 21 h 72"/>
                <a:gd name="T4" fmla="*/ 29 w 55"/>
                <a:gd name="T5" fmla="*/ 64 h 72"/>
                <a:gd name="T6" fmla="*/ 1 w 55"/>
                <a:gd name="T7" fmla="*/ 51 h 72"/>
                <a:gd name="T8" fmla="*/ 27 w 55"/>
                <a:gd name="T9" fmla="*/ 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72">
                  <a:moveTo>
                    <a:pt x="27" y="8"/>
                  </a:moveTo>
                  <a:cubicBezTo>
                    <a:pt x="42" y="0"/>
                    <a:pt x="55" y="6"/>
                    <a:pt x="55" y="21"/>
                  </a:cubicBezTo>
                  <a:cubicBezTo>
                    <a:pt x="55" y="36"/>
                    <a:pt x="44" y="55"/>
                    <a:pt x="29" y="64"/>
                  </a:cubicBezTo>
                  <a:cubicBezTo>
                    <a:pt x="14" y="72"/>
                    <a:pt x="2" y="66"/>
                    <a:pt x="1" y="51"/>
                  </a:cubicBezTo>
                  <a:cubicBezTo>
                    <a:pt x="0" y="36"/>
                    <a:pt x="12" y="16"/>
                    <a:pt x="27" y="8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25"/>
            <p:cNvSpPr>
              <a:spLocks/>
            </p:cNvSpPr>
            <p:nvPr userDrawn="1"/>
          </p:nvSpPr>
          <p:spPr bwMode="auto">
            <a:xfrm>
              <a:off x="12423280" y="2543921"/>
              <a:ext cx="233265" cy="285333"/>
            </a:xfrm>
            <a:custGeom>
              <a:avLst/>
              <a:gdLst>
                <a:gd name="T0" fmla="*/ 25 w 63"/>
                <a:gd name="T1" fmla="*/ 11 h 77"/>
                <a:gd name="T2" fmla="*/ 60 w 63"/>
                <a:gd name="T3" fmla="*/ 18 h 77"/>
                <a:gd name="T4" fmla="*/ 38 w 63"/>
                <a:gd name="T5" fmla="*/ 66 h 77"/>
                <a:gd name="T6" fmla="*/ 4 w 63"/>
                <a:gd name="T7" fmla="*/ 60 h 77"/>
                <a:gd name="T8" fmla="*/ 25 w 63"/>
                <a:gd name="T9" fmla="*/ 1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77">
                  <a:moveTo>
                    <a:pt x="25" y="11"/>
                  </a:moveTo>
                  <a:cubicBezTo>
                    <a:pt x="41" y="0"/>
                    <a:pt x="56" y="3"/>
                    <a:pt x="60" y="18"/>
                  </a:cubicBezTo>
                  <a:cubicBezTo>
                    <a:pt x="63" y="34"/>
                    <a:pt x="53" y="55"/>
                    <a:pt x="38" y="66"/>
                  </a:cubicBezTo>
                  <a:cubicBezTo>
                    <a:pt x="23" y="77"/>
                    <a:pt x="8" y="75"/>
                    <a:pt x="4" y="60"/>
                  </a:cubicBezTo>
                  <a:cubicBezTo>
                    <a:pt x="0" y="44"/>
                    <a:pt x="10" y="23"/>
                    <a:pt x="25" y="11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26"/>
            <p:cNvSpPr>
              <a:spLocks/>
            </p:cNvSpPr>
            <p:nvPr userDrawn="1"/>
          </p:nvSpPr>
          <p:spPr bwMode="auto">
            <a:xfrm>
              <a:off x="12300399" y="2204438"/>
              <a:ext cx="256175" cy="304077"/>
            </a:xfrm>
            <a:custGeom>
              <a:avLst/>
              <a:gdLst>
                <a:gd name="T0" fmla="*/ 22 w 69"/>
                <a:gd name="T1" fmla="*/ 15 h 82"/>
                <a:gd name="T2" fmla="*/ 62 w 69"/>
                <a:gd name="T3" fmla="*/ 15 h 82"/>
                <a:gd name="T4" fmla="*/ 46 w 69"/>
                <a:gd name="T5" fmla="*/ 67 h 82"/>
                <a:gd name="T6" fmla="*/ 7 w 69"/>
                <a:gd name="T7" fmla="*/ 68 h 82"/>
                <a:gd name="T8" fmla="*/ 22 w 69"/>
                <a:gd name="T9" fmla="*/ 1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82">
                  <a:moveTo>
                    <a:pt x="22" y="15"/>
                  </a:moveTo>
                  <a:cubicBezTo>
                    <a:pt x="38" y="0"/>
                    <a:pt x="56" y="0"/>
                    <a:pt x="62" y="15"/>
                  </a:cubicBezTo>
                  <a:cubicBezTo>
                    <a:pt x="69" y="29"/>
                    <a:pt x="62" y="53"/>
                    <a:pt x="46" y="67"/>
                  </a:cubicBezTo>
                  <a:cubicBezTo>
                    <a:pt x="31" y="82"/>
                    <a:pt x="14" y="82"/>
                    <a:pt x="7" y="68"/>
                  </a:cubicBezTo>
                  <a:cubicBezTo>
                    <a:pt x="0" y="54"/>
                    <a:pt x="7" y="30"/>
                    <a:pt x="22" y="15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27"/>
            <p:cNvSpPr>
              <a:spLocks/>
            </p:cNvSpPr>
            <p:nvPr userDrawn="1"/>
          </p:nvSpPr>
          <p:spPr bwMode="auto">
            <a:xfrm>
              <a:off x="12102541" y="1875368"/>
              <a:ext cx="270753" cy="343649"/>
            </a:xfrm>
            <a:custGeom>
              <a:avLst/>
              <a:gdLst>
                <a:gd name="T0" fmla="*/ 18 w 73"/>
                <a:gd name="T1" fmla="*/ 23 h 92"/>
                <a:gd name="T2" fmla="*/ 63 w 73"/>
                <a:gd name="T3" fmla="*/ 14 h 92"/>
                <a:gd name="T4" fmla="*/ 55 w 73"/>
                <a:gd name="T5" fmla="*/ 70 h 92"/>
                <a:gd name="T6" fmla="*/ 11 w 73"/>
                <a:gd name="T7" fmla="*/ 79 h 92"/>
                <a:gd name="T8" fmla="*/ 18 w 73"/>
                <a:gd name="T9" fmla="*/ 2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92">
                  <a:moveTo>
                    <a:pt x="18" y="23"/>
                  </a:moveTo>
                  <a:cubicBezTo>
                    <a:pt x="33" y="4"/>
                    <a:pt x="53" y="0"/>
                    <a:pt x="63" y="14"/>
                  </a:cubicBezTo>
                  <a:cubicBezTo>
                    <a:pt x="73" y="27"/>
                    <a:pt x="70" y="52"/>
                    <a:pt x="55" y="70"/>
                  </a:cubicBezTo>
                  <a:cubicBezTo>
                    <a:pt x="41" y="88"/>
                    <a:pt x="21" y="92"/>
                    <a:pt x="11" y="79"/>
                  </a:cubicBezTo>
                  <a:cubicBezTo>
                    <a:pt x="0" y="67"/>
                    <a:pt x="3" y="41"/>
                    <a:pt x="18" y="23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28"/>
            <p:cNvSpPr>
              <a:spLocks/>
            </p:cNvSpPr>
            <p:nvPr userDrawn="1"/>
          </p:nvSpPr>
          <p:spPr bwMode="auto">
            <a:xfrm>
              <a:off x="11825539" y="1592118"/>
              <a:ext cx="283250" cy="372807"/>
            </a:xfrm>
            <a:custGeom>
              <a:avLst/>
              <a:gdLst>
                <a:gd name="T0" fmla="*/ 13 w 76"/>
                <a:gd name="T1" fmla="*/ 30 h 100"/>
                <a:gd name="T2" fmla="*/ 62 w 76"/>
                <a:gd name="T3" fmla="*/ 11 h 100"/>
                <a:gd name="T4" fmla="*/ 63 w 76"/>
                <a:gd name="T5" fmla="*/ 70 h 100"/>
                <a:gd name="T6" fmla="*/ 15 w 76"/>
                <a:gd name="T7" fmla="*/ 89 h 100"/>
                <a:gd name="T8" fmla="*/ 13 w 76"/>
                <a:gd name="T9" fmla="*/ 3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100">
                  <a:moveTo>
                    <a:pt x="13" y="30"/>
                  </a:moveTo>
                  <a:cubicBezTo>
                    <a:pt x="26" y="8"/>
                    <a:pt x="48" y="0"/>
                    <a:pt x="62" y="11"/>
                  </a:cubicBezTo>
                  <a:cubicBezTo>
                    <a:pt x="76" y="22"/>
                    <a:pt x="76" y="49"/>
                    <a:pt x="63" y="70"/>
                  </a:cubicBezTo>
                  <a:cubicBezTo>
                    <a:pt x="51" y="91"/>
                    <a:pt x="29" y="100"/>
                    <a:pt x="15" y="89"/>
                  </a:cubicBezTo>
                  <a:cubicBezTo>
                    <a:pt x="1" y="79"/>
                    <a:pt x="0" y="52"/>
                    <a:pt x="13" y="30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29"/>
            <p:cNvSpPr>
              <a:spLocks/>
            </p:cNvSpPr>
            <p:nvPr userDrawn="1"/>
          </p:nvSpPr>
          <p:spPr bwMode="auto">
            <a:xfrm>
              <a:off x="11456899" y="1369268"/>
              <a:ext cx="316573" cy="395717"/>
            </a:xfrm>
            <a:custGeom>
              <a:avLst/>
              <a:gdLst>
                <a:gd name="T0" fmla="*/ 10 w 85"/>
                <a:gd name="T1" fmla="*/ 39 h 106"/>
                <a:gd name="T2" fmla="*/ 62 w 85"/>
                <a:gd name="T3" fmla="*/ 8 h 106"/>
                <a:gd name="T4" fmla="*/ 74 w 85"/>
                <a:gd name="T5" fmla="*/ 68 h 106"/>
                <a:gd name="T6" fmla="*/ 25 w 85"/>
                <a:gd name="T7" fmla="*/ 98 h 106"/>
                <a:gd name="T8" fmla="*/ 10 w 85"/>
                <a:gd name="T9" fmla="*/ 3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06">
                  <a:moveTo>
                    <a:pt x="10" y="39"/>
                  </a:moveTo>
                  <a:cubicBezTo>
                    <a:pt x="21" y="14"/>
                    <a:pt x="44" y="0"/>
                    <a:pt x="62" y="8"/>
                  </a:cubicBezTo>
                  <a:cubicBezTo>
                    <a:pt x="79" y="17"/>
                    <a:pt x="85" y="43"/>
                    <a:pt x="74" y="68"/>
                  </a:cubicBezTo>
                  <a:cubicBezTo>
                    <a:pt x="64" y="92"/>
                    <a:pt x="42" y="106"/>
                    <a:pt x="25" y="98"/>
                  </a:cubicBezTo>
                  <a:cubicBezTo>
                    <a:pt x="7" y="91"/>
                    <a:pt x="0" y="65"/>
                    <a:pt x="10" y="39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0"/>
            <p:cNvSpPr>
              <a:spLocks/>
            </p:cNvSpPr>
            <p:nvPr userDrawn="1"/>
          </p:nvSpPr>
          <p:spPr bwMode="auto">
            <a:xfrm>
              <a:off x="10936219" y="1783728"/>
              <a:ext cx="268671" cy="304077"/>
            </a:xfrm>
            <a:custGeom>
              <a:avLst/>
              <a:gdLst>
                <a:gd name="T0" fmla="*/ 67 w 72"/>
                <a:gd name="T1" fmla="*/ 46 h 82"/>
                <a:gd name="T2" fmla="*/ 27 w 72"/>
                <a:gd name="T3" fmla="*/ 80 h 82"/>
                <a:gd name="T4" fmla="*/ 5 w 72"/>
                <a:gd name="T5" fmla="*/ 38 h 82"/>
                <a:gd name="T6" fmla="*/ 45 w 72"/>
                <a:gd name="T7" fmla="*/ 3 h 82"/>
                <a:gd name="T8" fmla="*/ 67 w 72"/>
                <a:gd name="T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82">
                  <a:moveTo>
                    <a:pt x="67" y="46"/>
                  </a:moveTo>
                  <a:cubicBezTo>
                    <a:pt x="62" y="67"/>
                    <a:pt x="44" y="82"/>
                    <a:pt x="27" y="80"/>
                  </a:cubicBezTo>
                  <a:cubicBezTo>
                    <a:pt x="10" y="78"/>
                    <a:pt x="0" y="59"/>
                    <a:pt x="5" y="38"/>
                  </a:cubicBezTo>
                  <a:cubicBezTo>
                    <a:pt x="9" y="16"/>
                    <a:pt x="28" y="0"/>
                    <a:pt x="45" y="3"/>
                  </a:cubicBezTo>
                  <a:cubicBezTo>
                    <a:pt x="63" y="5"/>
                    <a:pt x="72" y="25"/>
                    <a:pt x="67" y="46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31"/>
            <p:cNvSpPr>
              <a:spLocks/>
            </p:cNvSpPr>
            <p:nvPr userDrawn="1"/>
          </p:nvSpPr>
          <p:spPr bwMode="auto">
            <a:xfrm>
              <a:off x="10534253" y="1771232"/>
              <a:ext cx="264506" cy="310326"/>
            </a:xfrm>
            <a:custGeom>
              <a:avLst/>
              <a:gdLst>
                <a:gd name="T0" fmla="*/ 70 w 71"/>
                <a:gd name="T1" fmla="*/ 39 h 83"/>
                <a:gd name="T2" fmla="*/ 34 w 71"/>
                <a:gd name="T3" fmla="*/ 82 h 83"/>
                <a:gd name="T4" fmla="*/ 0 w 71"/>
                <a:gd name="T5" fmla="*/ 45 h 83"/>
                <a:gd name="T6" fmla="*/ 37 w 71"/>
                <a:gd name="T7" fmla="*/ 1 h 83"/>
                <a:gd name="T8" fmla="*/ 70 w 71"/>
                <a:gd name="T9" fmla="*/ 3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83">
                  <a:moveTo>
                    <a:pt x="70" y="39"/>
                  </a:moveTo>
                  <a:cubicBezTo>
                    <a:pt x="68" y="61"/>
                    <a:pt x="52" y="80"/>
                    <a:pt x="34" y="82"/>
                  </a:cubicBezTo>
                  <a:cubicBezTo>
                    <a:pt x="15" y="83"/>
                    <a:pt x="0" y="67"/>
                    <a:pt x="0" y="45"/>
                  </a:cubicBezTo>
                  <a:cubicBezTo>
                    <a:pt x="1" y="22"/>
                    <a:pt x="18" y="2"/>
                    <a:pt x="37" y="1"/>
                  </a:cubicBezTo>
                  <a:cubicBezTo>
                    <a:pt x="57" y="0"/>
                    <a:pt x="71" y="17"/>
                    <a:pt x="70" y="39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32"/>
            <p:cNvSpPr>
              <a:spLocks/>
            </p:cNvSpPr>
            <p:nvPr userDrawn="1"/>
          </p:nvSpPr>
          <p:spPr bwMode="auto">
            <a:xfrm>
              <a:off x="10082304" y="1835797"/>
              <a:ext cx="293664" cy="335318"/>
            </a:xfrm>
            <a:custGeom>
              <a:avLst/>
              <a:gdLst>
                <a:gd name="T0" fmla="*/ 76 w 79"/>
                <a:gd name="T1" fmla="*/ 36 h 90"/>
                <a:gd name="T2" fmla="*/ 46 w 79"/>
                <a:gd name="T3" fmla="*/ 85 h 90"/>
                <a:gd name="T4" fmla="*/ 3 w 79"/>
                <a:gd name="T5" fmla="*/ 56 h 90"/>
                <a:gd name="T6" fmla="*/ 33 w 79"/>
                <a:gd name="T7" fmla="*/ 5 h 90"/>
                <a:gd name="T8" fmla="*/ 76 w 79"/>
                <a:gd name="T9" fmla="*/ 3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90">
                  <a:moveTo>
                    <a:pt x="76" y="36"/>
                  </a:moveTo>
                  <a:cubicBezTo>
                    <a:pt x="79" y="58"/>
                    <a:pt x="65" y="79"/>
                    <a:pt x="46" y="85"/>
                  </a:cubicBezTo>
                  <a:cubicBezTo>
                    <a:pt x="26" y="90"/>
                    <a:pt x="7" y="78"/>
                    <a:pt x="3" y="56"/>
                  </a:cubicBezTo>
                  <a:cubicBezTo>
                    <a:pt x="0" y="33"/>
                    <a:pt x="13" y="10"/>
                    <a:pt x="33" y="5"/>
                  </a:cubicBezTo>
                  <a:cubicBezTo>
                    <a:pt x="54" y="0"/>
                    <a:pt x="72" y="14"/>
                    <a:pt x="76" y="36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3"/>
            <p:cNvSpPr>
              <a:spLocks/>
            </p:cNvSpPr>
            <p:nvPr userDrawn="1"/>
          </p:nvSpPr>
          <p:spPr bwMode="auto">
            <a:xfrm>
              <a:off x="9624106" y="1996166"/>
              <a:ext cx="324904" cy="349897"/>
            </a:xfrm>
            <a:custGeom>
              <a:avLst/>
              <a:gdLst>
                <a:gd name="T0" fmla="*/ 80 w 87"/>
                <a:gd name="T1" fmla="*/ 30 h 94"/>
                <a:gd name="T2" fmla="*/ 59 w 87"/>
                <a:gd name="T3" fmla="*/ 84 h 94"/>
                <a:gd name="T4" fmla="*/ 9 w 87"/>
                <a:gd name="T5" fmla="*/ 65 h 94"/>
                <a:gd name="T6" fmla="*/ 30 w 87"/>
                <a:gd name="T7" fmla="*/ 9 h 94"/>
                <a:gd name="T8" fmla="*/ 80 w 87"/>
                <a:gd name="T9" fmla="*/ 3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94">
                  <a:moveTo>
                    <a:pt x="80" y="30"/>
                  </a:moveTo>
                  <a:cubicBezTo>
                    <a:pt x="87" y="51"/>
                    <a:pt x="78" y="75"/>
                    <a:pt x="59" y="84"/>
                  </a:cubicBezTo>
                  <a:cubicBezTo>
                    <a:pt x="40" y="94"/>
                    <a:pt x="17" y="85"/>
                    <a:pt x="9" y="65"/>
                  </a:cubicBezTo>
                  <a:cubicBezTo>
                    <a:pt x="0" y="44"/>
                    <a:pt x="10" y="19"/>
                    <a:pt x="30" y="9"/>
                  </a:cubicBezTo>
                  <a:cubicBezTo>
                    <a:pt x="50" y="0"/>
                    <a:pt x="72" y="9"/>
                    <a:pt x="80" y="30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4"/>
            <p:cNvSpPr>
              <a:spLocks/>
            </p:cNvSpPr>
            <p:nvPr userDrawn="1"/>
          </p:nvSpPr>
          <p:spPr bwMode="auto">
            <a:xfrm>
              <a:off x="9199231" y="2248175"/>
              <a:ext cx="339484" cy="343649"/>
            </a:xfrm>
            <a:custGeom>
              <a:avLst/>
              <a:gdLst>
                <a:gd name="T0" fmla="*/ 79 w 91"/>
                <a:gd name="T1" fmla="*/ 23 h 92"/>
                <a:gd name="T2" fmla="*/ 68 w 91"/>
                <a:gd name="T3" fmla="*/ 79 h 92"/>
                <a:gd name="T4" fmla="*/ 13 w 91"/>
                <a:gd name="T5" fmla="*/ 71 h 92"/>
                <a:gd name="T6" fmla="*/ 23 w 91"/>
                <a:gd name="T7" fmla="*/ 13 h 92"/>
                <a:gd name="T8" fmla="*/ 79 w 91"/>
                <a:gd name="T9" fmla="*/ 2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2">
                  <a:moveTo>
                    <a:pt x="79" y="23"/>
                  </a:moveTo>
                  <a:cubicBezTo>
                    <a:pt x="91" y="42"/>
                    <a:pt x="86" y="67"/>
                    <a:pt x="68" y="79"/>
                  </a:cubicBezTo>
                  <a:cubicBezTo>
                    <a:pt x="51" y="92"/>
                    <a:pt x="26" y="88"/>
                    <a:pt x="13" y="71"/>
                  </a:cubicBezTo>
                  <a:cubicBezTo>
                    <a:pt x="0" y="53"/>
                    <a:pt x="4" y="27"/>
                    <a:pt x="23" y="13"/>
                  </a:cubicBezTo>
                  <a:cubicBezTo>
                    <a:pt x="41" y="0"/>
                    <a:pt x="66" y="5"/>
                    <a:pt x="79" y="23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35"/>
            <p:cNvSpPr>
              <a:spLocks/>
            </p:cNvSpPr>
            <p:nvPr userDrawn="1"/>
          </p:nvSpPr>
          <p:spPr bwMode="auto">
            <a:xfrm>
              <a:off x="8826424" y="2583492"/>
              <a:ext cx="335318" cy="324904"/>
            </a:xfrm>
            <a:custGeom>
              <a:avLst/>
              <a:gdLst>
                <a:gd name="T0" fmla="*/ 74 w 90"/>
                <a:gd name="T1" fmla="*/ 15 h 87"/>
                <a:gd name="T2" fmla="*/ 75 w 90"/>
                <a:gd name="T3" fmla="*/ 70 h 87"/>
                <a:gd name="T4" fmla="*/ 18 w 90"/>
                <a:gd name="T5" fmla="*/ 72 h 87"/>
                <a:gd name="T6" fmla="*/ 15 w 90"/>
                <a:gd name="T7" fmla="*/ 17 h 87"/>
                <a:gd name="T8" fmla="*/ 74 w 90"/>
                <a:gd name="T9" fmla="*/ 1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87">
                  <a:moveTo>
                    <a:pt x="74" y="15"/>
                  </a:moveTo>
                  <a:cubicBezTo>
                    <a:pt x="90" y="30"/>
                    <a:pt x="90" y="54"/>
                    <a:pt x="75" y="70"/>
                  </a:cubicBezTo>
                  <a:cubicBezTo>
                    <a:pt x="60" y="85"/>
                    <a:pt x="35" y="87"/>
                    <a:pt x="18" y="72"/>
                  </a:cubicBezTo>
                  <a:cubicBezTo>
                    <a:pt x="1" y="58"/>
                    <a:pt x="0" y="33"/>
                    <a:pt x="15" y="17"/>
                  </a:cubicBezTo>
                  <a:cubicBezTo>
                    <a:pt x="31" y="0"/>
                    <a:pt x="57" y="0"/>
                    <a:pt x="74" y="15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36"/>
            <p:cNvSpPr>
              <a:spLocks/>
            </p:cNvSpPr>
            <p:nvPr userDrawn="1"/>
          </p:nvSpPr>
          <p:spPr bwMode="auto">
            <a:xfrm>
              <a:off x="11852615" y="2252341"/>
              <a:ext cx="227017" cy="274919"/>
            </a:xfrm>
            <a:custGeom>
              <a:avLst/>
              <a:gdLst>
                <a:gd name="T0" fmla="*/ 14 w 61"/>
                <a:gd name="T1" fmla="*/ 19 h 74"/>
                <a:gd name="T2" fmla="*/ 52 w 61"/>
                <a:gd name="T3" fmla="*/ 10 h 74"/>
                <a:gd name="T4" fmla="*/ 47 w 61"/>
                <a:gd name="T5" fmla="*/ 56 h 74"/>
                <a:gd name="T6" fmla="*/ 9 w 61"/>
                <a:gd name="T7" fmla="*/ 64 h 74"/>
                <a:gd name="T8" fmla="*/ 14 w 61"/>
                <a:gd name="T9" fmla="*/ 19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74">
                  <a:moveTo>
                    <a:pt x="14" y="19"/>
                  </a:moveTo>
                  <a:cubicBezTo>
                    <a:pt x="26" y="3"/>
                    <a:pt x="43" y="0"/>
                    <a:pt x="52" y="10"/>
                  </a:cubicBezTo>
                  <a:cubicBezTo>
                    <a:pt x="61" y="21"/>
                    <a:pt x="59" y="41"/>
                    <a:pt x="47" y="56"/>
                  </a:cubicBezTo>
                  <a:cubicBezTo>
                    <a:pt x="35" y="71"/>
                    <a:pt x="18" y="74"/>
                    <a:pt x="9" y="64"/>
                  </a:cubicBezTo>
                  <a:cubicBezTo>
                    <a:pt x="0" y="54"/>
                    <a:pt x="2" y="34"/>
                    <a:pt x="14" y="19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37"/>
            <p:cNvSpPr>
              <a:spLocks/>
            </p:cNvSpPr>
            <p:nvPr userDrawn="1"/>
          </p:nvSpPr>
          <p:spPr bwMode="auto">
            <a:xfrm>
              <a:off x="11611020" y="2031573"/>
              <a:ext cx="237430" cy="299912"/>
            </a:xfrm>
            <a:custGeom>
              <a:avLst/>
              <a:gdLst>
                <a:gd name="T0" fmla="*/ 10 w 64"/>
                <a:gd name="T1" fmla="*/ 26 h 80"/>
                <a:gd name="T2" fmla="*/ 51 w 64"/>
                <a:gd name="T3" fmla="*/ 9 h 80"/>
                <a:gd name="T4" fmla="*/ 54 w 64"/>
                <a:gd name="T5" fmla="*/ 56 h 80"/>
                <a:gd name="T6" fmla="*/ 13 w 64"/>
                <a:gd name="T7" fmla="*/ 72 h 80"/>
                <a:gd name="T8" fmla="*/ 10 w 64"/>
                <a:gd name="T9" fmla="*/ 2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80">
                  <a:moveTo>
                    <a:pt x="10" y="26"/>
                  </a:moveTo>
                  <a:cubicBezTo>
                    <a:pt x="20" y="8"/>
                    <a:pt x="39" y="0"/>
                    <a:pt x="51" y="9"/>
                  </a:cubicBezTo>
                  <a:cubicBezTo>
                    <a:pt x="63" y="17"/>
                    <a:pt x="64" y="38"/>
                    <a:pt x="54" y="56"/>
                  </a:cubicBezTo>
                  <a:cubicBezTo>
                    <a:pt x="43" y="73"/>
                    <a:pt x="26" y="80"/>
                    <a:pt x="13" y="72"/>
                  </a:cubicBezTo>
                  <a:cubicBezTo>
                    <a:pt x="1" y="64"/>
                    <a:pt x="0" y="43"/>
                    <a:pt x="10" y="26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38"/>
            <p:cNvSpPr>
              <a:spLocks/>
            </p:cNvSpPr>
            <p:nvPr userDrawn="1"/>
          </p:nvSpPr>
          <p:spPr bwMode="auto">
            <a:xfrm>
              <a:off x="11296529" y="1873286"/>
              <a:ext cx="262423" cy="308242"/>
            </a:xfrm>
            <a:custGeom>
              <a:avLst/>
              <a:gdLst>
                <a:gd name="T0" fmla="*/ 8 w 70"/>
                <a:gd name="T1" fmla="*/ 32 h 83"/>
                <a:gd name="T2" fmla="*/ 50 w 70"/>
                <a:gd name="T3" fmla="*/ 6 h 83"/>
                <a:gd name="T4" fmla="*/ 62 w 70"/>
                <a:gd name="T5" fmla="*/ 52 h 83"/>
                <a:gd name="T6" fmla="*/ 21 w 70"/>
                <a:gd name="T7" fmla="*/ 77 h 83"/>
                <a:gd name="T8" fmla="*/ 8 w 70"/>
                <a:gd name="T9" fmla="*/ 3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83">
                  <a:moveTo>
                    <a:pt x="8" y="32"/>
                  </a:moveTo>
                  <a:cubicBezTo>
                    <a:pt x="16" y="12"/>
                    <a:pt x="35" y="0"/>
                    <a:pt x="50" y="6"/>
                  </a:cubicBezTo>
                  <a:cubicBezTo>
                    <a:pt x="65" y="12"/>
                    <a:pt x="70" y="33"/>
                    <a:pt x="62" y="52"/>
                  </a:cubicBezTo>
                  <a:cubicBezTo>
                    <a:pt x="54" y="71"/>
                    <a:pt x="36" y="83"/>
                    <a:pt x="21" y="77"/>
                  </a:cubicBezTo>
                  <a:cubicBezTo>
                    <a:pt x="6" y="72"/>
                    <a:pt x="0" y="52"/>
                    <a:pt x="8" y="32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39"/>
            <p:cNvSpPr>
              <a:spLocks/>
            </p:cNvSpPr>
            <p:nvPr userDrawn="1"/>
          </p:nvSpPr>
          <p:spPr bwMode="auto">
            <a:xfrm>
              <a:off x="6616660" y="6459433"/>
              <a:ext cx="537342" cy="439454"/>
            </a:xfrm>
            <a:custGeom>
              <a:avLst/>
              <a:gdLst>
                <a:gd name="T0" fmla="*/ 95 w 144"/>
                <a:gd name="T1" fmla="*/ 102 h 118"/>
                <a:gd name="T2" fmla="*/ 133 w 144"/>
                <a:gd name="T3" fmla="*/ 32 h 118"/>
                <a:gd name="T4" fmla="*/ 53 w 144"/>
                <a:gd name="T5" fmla="*/ 16 h 118"/>
                <a:gd name="T6" fmla="*/ 13 w 144"/>
                <a:gd name="T7" fmla="*/ 88 h 118"/>
                <a:gd name="T8" fmla="*/ 95 w 144"/>
                <a:gd name="T9" fmla="*/ 10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18">
                  <a:moveTo>
                    <a:pt x="95" y="102"/>
                  </a:moveTo>
                  <a:cubicBezTo>
                    <a:pt x="127" y="86"/>
                    <a:pt x="144" y="55"/>
                    <a:pt x="133" y="32"/>
                  </a:cubicBezTo>
                  <a:cubicBezTo>
                    <a:pt x="122" y="8"/>
                    <a:pt x="86" y="0"/>
                    <a:pt x="53" y="16"/>
                  </a:cubicBezTo>
                  <a:cubicBezTo>
                    <a:pt x="18" y="31"/>
                    <a:pt x="0" y="64"/>
                    <a:pt x="13" y="88"/>
                  </a:cubicBezTo>
                  <a:cubicBezTo>
                    <a:pt x="25" y="112"/>
                    <a:pt x="62" y="118"/>
                    <a:pt x="95" y="102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40"/>
            <p:cNvSpPr>
              <a:spLocks/>
            </p:cNvSpPr>
            <p:nvPr userDrawn="1"/>
          </p:nvSpPr>
          <p:spPr bwMode="auto">
            <a:xfrm>
              <a:off x="6404222" y="5865858"/>
              <a:ext cx="551921" cy="458198"/>
            </a:xfrm>
            <a:custGeom>
              <a:avLst/>
              <a:gdLst>
                <a:gd name="T0" fmla="*/ 88 w 148"/>
                <a:gd name="T1" fmla="*/ 113 h 123"/>
                <a:gd name="T2" fmla="*/ 142 w 148"/>
                <a:gd name="T3" fmla="*/ 44 h 123"/>
                <a:gd name="T4" fmla="*/ 64 w 148"/>
                <a:gd name="T5" fmla="*/ 9 h 123"/>
                <a:gd name="T6" fmla="*/ 7 w 148"/>
                <a:gd name="T7" fmla="*/ 80 h 123"/>
                <a:gd name="T8" fmla="*/ 88 w 148"/>
                <a:gd name="T9" fmla="*/ 11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123">
                  <a:moveTo>
                    <a:pt x="88" y="113"/>
                  </a:moveTo>
                  <a:cubicBezTo>
                    <a:pt x="124" y="103"/>
                    <a:pt x="148" y="72"/>
                    <a:pt x="142" y="44"/>
                  </a:cubicBezTo>
                  <a:cubicBezTo>
                    <a:pt x="136" y="16"/>
                    <a:pt x="102" y="0"/>
                    <a:pt x="64" y="9"/>
                  </a:cubicBezTo>
                  <a:cubicBezTo>
                    <a:pt x="25" y="18"/>
                    <a:pt x="0" y="51"/>
                    <a:pt x="7" y="80"/>
                  </a:cubicBezTo>
                  <a:cubicBezTo>
                    <a:pt x="14" y="109"/>
                    <a:pt x="51" y="123"/>
                    <a:pt x="88" y="113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41"/>
            <p:cNvSpPr>
              <a:spLocks/>
            </p:cNvSpPr>
            <p:nvPr userDrawn="1"/>
          </p:nvSpPr>
          <p:spPr bwMode="auto">
            <a:xfrm>
              <a:off x="6333410" y="5191057"/>
              <a:ext cx="541507" cy="451951"/>
            </a:xfrm>
            <a:custGeom>
              <a:avLst/>
              <a:gdLst>
                <a:gd name="T0" fmla="*/ 75 w 145"/>
                <a:gd name="T1" fmla="*/ 118 h 121"/>
                <a:gd name="T2" fmla="*/ 145 w 145"/>
                <a:gd name="T3" fmla="*/ 56 h 121"/>
                <a:gd name="T4" fmla="*/ 75 w 145"/>
                <a:gd name="T5" fmla="*/ 1 h 121"/>
                <a:gd name="T6" fmla="*/ 1 w 145"/>
                <a:gd name="T7" fmla="*/ 65 h 121"/>
                <a:gd name="T8" fmla="*/ 75 w 145"/>
                <a:gd name="T9" fmla="*/ 11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21">
                  <a:moveTo>
                    <a:pt x="75" y="118"/>
                  </a:moveTo>
                  <a:cubicBezTo>
                    <a:pt x="114" y="115"/>
                    <a:pt x="145" y="87"/>
                    <a:pt x="145" y="56"/>
                  </a:cubicBezTo>
                  <a:cubicBezTo>
                    <a:pt x="145" y="25"/>
                    <a:pt x="114" y="0"/>
                    <a:pt x="75" y="1"/>
                  </a:cubicBezTo>
                  <a:cubicBezTo>
                    <a:pt x="34" y="3"/>
                    <a:pt x="0" y="31"/>
                    <a:pt x="1" y="65"/>
                  </a:cubicBezTo>
                  <a:cubicBezTo>
                    <a:pt x="1" y="97"/>
                    <a:pt x="35" y="121"/>
                    <a:pt x="75" y="118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42"/>
            <p:cNvSpPr>
              <a:spLocks/>
            </p:cNvSpPr>
            <p:nvPr userDrawn="1"/>
          </p:nvSpPr>
          <p:spPr bwMode="auto">
            <a:xfrm>
              <a:off x="6385477" y="4420451"/>
              <a:ext cx="593576" cy="506101"/>
            </a:xfrm>
            <a:custGeom>
              <a:avLst/>
              <a:gdLst>
                <a:gd name="T0" fmla="*/ 69 w 159"/>
                <a:gd name="T1" fmla="*/ 130 h 136"/>
                <a:gd name="T2" fmla="*/ 152 w 159"/>
                <a:gd name="T3" fmla="*/ 81 h 136"/>
                <a:gd name="T4" fmla="*/ 95 w 159"/>
                <a:gd name="T5" fmla="*/ 8 h 136"/>
                <a:gd name="T6" fmla="*/ 7 w 159"/>
                <a:gd name="T7" fmla="*/ 57 h 136"/>
                <a:gd name="T8" fmla="*/ 69 w 159"/>
                <a:gd name="T9" fmla="*/ 13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136">
                  <a:moveTo>
                    <a:pt x="69" y="130"/>
                  </a:moveTo>
                  <a:cubicBezTo>
                    <a:pt x="108" y="136"/>
                    <a:pt x="145" y="114"/>
                    <a:pt x="152" y="81"/>
                  </a:cubicBezTo>
                  <a:cubicBezTo>
                    <a:pt x="159" y="48"/>
                    <a:pt x="134" y="15"/>
                    <a:pt x="95" y="8"/>
                  </a:cubicBezTo>
                  <a:cubicBezTo>
                    <a:pt x="54" y="0"/>
                    <a:pt x="14" y="23"/>
                    <a:pt x="7" y="57"/>
                  </a:cubicBezTo>
                  <a:cubicBezTo>
                    <a:pt x="0" y="92"/>
                    <a:pt x="28" y="125"/>
                    <a:pt x="69" y="130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43"/>
            <p:cNvSpPr>
              <a:spLocks/>
            </p:cNvSpPr>
            <p:nvPr userDrawn="1"/>
          </p:nvSpPr>
          <p:spPr bwMode="auto">
            <a:xfrm>
              <a:off x="9090930" y="7654914"/>
              <a:ext cx="287415" cy="283250"/>
            </a:xfrm>
            <a:custGeom>
              <a:avLst/>
              <a:gdLst>
                <a:gd name="T0" fmla="*/ 6 w 77"/>
                <a:gd name="T1" fmla="*/ 45 h 76"/>
                <a:gd name="T2" fmla="*/ 29 w 77"/>
                <a:gd name="T3" fmla="*/ 72 h 76"/>
                <a:gd name="T4" fmla="*/ 71 w 77"/>
                <a:gd name="T5" fmla="*/ 31 h 76"/>
                <a:gd name="T6" fmla="*/ 49 w 77"/>
                <a:gd name="T7" fmla="*/ 3 h 76"/>
                <a:gd name="T8" fmla="*/ 6 w 77"/>
                <a:gd name="T9" fmla="*/ 4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6">
                  <a:moveTo>
                    <a:pt x="6" y="45"/>
                  </a:moveTo>
                  <a:cubicBezTo>
                    <a:pt x="0" y="64"/>
                    <a:pt x="11" y="76"/>
                    <a:pt x="29" y="72"/>
                  </a:cubicBezTo>
                  <a:cubicBezTo>
                    <a:pt x="46" y="67"/>
                    <a:pt x="65" y="49"/>
                    <a:pt x="71" y="31"/>
                  </a:cubicBezTo>
                  <a:cubicBezTo>
                    <a:pt x="77" y="12"/>
                    <a:pt x="67" y="0"/>
                    <a:pt x="49" y="3"/>
                  </a:cubicBezTo>
                  <a:cubicBezTo>
                    <a:pt x="31" y="7"/>
                    <a:pt x="12" y="26"/>
                    <a:pt x="6" y="45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44"/>
            <p:cNvSpPr>
              <a:spLocks/>
            </p:cNvSpPr>
            <p:nvPr userDrawn="1"/>
          </p:nvSpPr>
          <p:spPr bwMode="auto">
            <a:xfrm>
              <a:off x="8666055" y="7711147"/>
              <a:ext cx="320739" cy="279084"/>
            </a:xfrm>
            <a:custGeom>
              <a:avLst/>
              <a:gdLst>
                <a:gd name="T0" fmla="*/ 9 w 86"/>
                <a:gd name="T1" fmla="*/ 38 h 75"/>
                <a:gd name="T2" fmla="*/ 27 w 86"/>
                <a:gd name="T3" fmla="*/ 74 h 75"/>
                <a:gd name="T4" fmla="*/ 77 w 86"/>
                <a:gd name="T5" fmla="*/ 36 h 75"/>
                <a:gd name="T6" fmla="*/ 60 w 86"/>
                <a:gd name="T7" fmla="*/ 0 h 75"/>
                <a:gd name="T8" fmla="*/ 9 w 86"/>
                <a:gd name="T9" fmla="*/ 3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75">
                  <a:moveTo>
                    <a:pt x="9" y="38"/>
                  </a:moveTo>
                  <a:cubicBezTo>
                    <a:pt x="0" y="59"/>
                    <a:pt x="8" y="75"/>
                    <a:pt x="27" y="74"/>
                  </a:cubicBezTo>
                  <a:cubicBezTo>
                    <a:pt x="46" y="73"/>
                    <a:pt x="68" y="56"/>
                    <a:pt x="77" y="36"/>
                  </a:cubicBezTo>
                  <a:cubicBezTo>
                    <a:pt x="86" y="16"/>
                    <a:pt x="79" y="0"/>
                    <a:pt x="60" y="0"/>
                  </a:cubicBezTo>
                  <a:cubicBezTo>
                    <a:pt x="41" y="0"/>
                    <a:pt x="18" y="18"/>
                    <a:pt x="9" y="38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45"/>
            <p:cNvSpPr>
              <a:spLocks/>
            </p:cNvSpPr>
            <p:nvPr userDrawn="1"/>
          </p:nvSpPr>
          <p:spPr bwMode="auto">
            <a:xfrm>
              <a:off x="8222435" y="7665327"/>
              <a:ext cx="358228" cy="316573"/>
            </a:xfrm>
            <a:custGeom>
              <a:avLst/>
              <a:gdLst>
                <a:gd name="T0" fmla="*/ 14 w 96"/>
                <a:gd name="T1" fmla="*/ 37 h 85"/>
                <a:gd name="T2" fmla="*/ 25 w 96"/>
                <a:gd name="T3" fmla="*/ 82 h 85"/>
                <a:gd name="T4" fmla="*/ 83 w 96"/>
                <a:gd name="T5" fmla="*/ 48 h 85"/>
                <a:gd name="T6" fmla="*/ 73 w 96"/>
                <a:gd name="T7" fmla="*/ 4 h 85"/>
                <a:gd name="T8" fmla="*/ 14 w 96"/>
                <a:gd name="T9" fmla="*/ 3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85">
                  <a:moveTo>
                    <a:pt x="14" y="37"/>
                  </a:moveTo>
                  <a:cubicBezTo>
                    <a:pt x="0" y="59"/>
                    <a:pt x="5" y="79"/>
                    <a:pt x="25" y="82"/>
                  </a:cubicBezTo>
                  <a:cubicBezTo>
                    <a:pt x="44" y="85"/>
                    <a:pt x="70" y="69"/>
                    <a:pt x="83" y="48"/>
                  </a:cubicBezTo>
                  <a:cubicBezTo>
                    <a:pt x="96" y="27"/>
                    <a:pt x="92" y="7"/>
                    <a:pt x="73" y="4"/>
                  </a:cubicBezTo>
                  <a:cubicBezTo>
                    <a:pt x="54" y="0"/>
                    <a:pt x="27" y="15"/>
                    <a:pt x="14" y="37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46"/>
            <p:cNvSpPr>
              <a:spLocks/>
            </p:cNvSpPr>
            <p:nvPr userDrawn="1"/>
          </p:nvSpPr>
          <p:spPr bwMode="auto">
            <a:xfrm>
              <a:off x="7782982" y="7532033"/>
              <a:ext cx="387386" cy="354062"/>
            </a:xfrm>
            <a:custGeom>
              <a:avLst/>
              <a:gdLst>
                <a:gd name="T0" fmla="*/ 18 w 104"/>
                <a:gd name="T1" fmla="*/ 34 h 95"/>
                <a:gd name="T2" fmla="*/ 20 w 104"/>
                <a:gd name="T3" fmla="*/ 88 h 95"/>
                <a:gd name="T4" fmla="*/ 87 w 104"/>
                <a:gd name="T5" fmla="*/ 61 h 95"/>
                <a:gd name="T6" fmla="*/ 85 w 104"/>
                <a:gd name="T7" fmla="*/ 8 h 95"/>
                <a:gd name="T8" fmla="*/ 18 w 104"/>
                <a:gd name="T9" fmla="*/ 34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95">
                  <a:moveTo>
                    <a:pt x="18" y="34"/>
                  </a:moveTo>
                  <a:cubicBezTo>
                    <a:pt x="0" y="56"/>
                    <a:pt x="1" y="81"/>
                    <a:pt x="20" y="88"/>
                  </a:cubicBezTo>
                  <a:cubicBezTo>
                    <a:pt x="40" y="95"/>
                    <a:pt x="69" y="83"/>
                    <a:pt x="87" y="61"/>
                  </a:cubicBezTo>
                  <a:cubicBezTo>
                    <a:pt x="104" y="40"/>
                    <a:pt x="104" y="16"/>
                    <a:pt x="85" y="8"/>
                  </a:cubicBezTo>
                  <a:cubicBezTo>
                    <a:pt x="67" y="0"/>
                    <a:pt x="36" y="12"/>
                    <a:pt x="18" y="34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47"/>
            <p:cNvSpPr>
              <a:spLocks/>
            </p:cNvSpPr>
            <p:nvPr userDrawn="1"/>
          </p:nvSpPr>
          <p:spPr bwMode="auto">
            <a:xfrm>
              <a:off x="7343528" y="7296686"/>
              <a:ext cx="443620" cy="381138"/>
            </a:xfrm>
            <a:custGeom>
              <a:avLst/>
              <a:gdLst>
                <a:gd name="T0" fmla="*/ 28 w 119"/>
                <a:gd name="T1" fmla="*/ 28 h 102"/>
                <a:gd name="T2" fmla="*/ 19 w 119"/>
                <a:gd name="T3" fmla="*/ 90 h 102"/>
                <a:gd name="T4" fmla="*/ 93 w 119"/>
                <a:gd name="T5" fmla="*/ 73 h 102"/>
                <a:gd name="T6" fmla="*/ 102 w 119"/>
                <a:gd name="T7" fmla="*/ 13 h 102"/>
                <a:gd name="T8" fmla="*/ 28 w 119"/>
                <a:gd name="T9" fmla="*/ 2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102">
                  <a:moveTo>
                    <a:pt x="28" y="28"/>
                  </a:moveTo>
                  <a:cubicBezTo>
                    <a:pt x="4" y="49"/>
                    <a:pt x="0" y="78"/>
                    <a:pt x="19" y="90"/>
                  </a:cubicBezTo>
                  <a:cubicBezTo>
                    <a:pt x="37" y="102"/>
                    <a:pt x="70" y="95"/>
                    <a:pt x="93" y="73"/>
                  </a:cubicBezTo>
                  <a:cubicBezTo>
                    <a:pt x="115" y="52"/>
                    <a:pt x="119" y="25"/>
                    <a:pt x="102" y="13"/>
                  </a:cubicBezTo>
                  <a:cubicBezTo>
                    <a:pt x="85" y="0"/>
                    <a:pt x="52" y="6"/>
                    <a:pt x="28" y="28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48"/>
            <p:cNvSpPr>
              <a:spLocks/>
            </p:cNvSpPr>
            <p:nvPr userDrawn="1"/>
          </p:nvSpPr>
          <p:spPr bwMode="auto">
            <a:xfrm>
              <a:off x="6945729" y="6946789"/>
              <a:ext cx="495687" cy="397800"/>
            </a:xfrm>
            <a:custGeom>
              <a:avLst/>
              <a:gdLst>
                <a:gd name="T0" fmla="*/ 40 w 133"/>
                <a:gd name="T1" fmla="*/ 20 h 107"/>
                <a:gd name="T2" fmla="*/ 16 w 133"/>
                <a:gd name="T3" fmla="*/ 89 h 107"/>
                <a:gd name="T4" fmla="*/ 96 w 133"/>
                <a:gd name="T5" fmla="*/ 86 h 107"/>
                <a:gd name="T6" fmla="*/ 119 w 133"/>
                <a:gd name="T7" fmla="*/ 19 h 107"/>
                <a:gd name="T8" fmla="*/ 40 w 133"/>
                <a:gd name="T9" fmla="*/ 2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107">
                  <a:moveTo>
                    <a:pt x="40" y="20"/>
                  </a:moveTo>
                  <a:cubicBezTo>
                    <a:pt x="10" y="39"/>
                    <a:pt x="0" y="71"/>
                    <a:pt x="16" y="89"/>
                  </a:cubicBezTo>
                  <a:cubicBezTo>
                    <a:pt x="32" y="107"/>
                    <a:pt x="68" y="105"/>
                    <a:pt x="96" y="86"/>
                  </a:cubicBezTo>
                  <a:cubicBezTo>
                    <a:pt x="123" y="67"/>
                    <a:pt x="133" y="37"/>
                    <a:pt x="119" y="19"/>
                  </a:cubicBezTo>
                  <a:cubicBezTo>
                    <a:pt x="104" y="0"/>
                    <a:pt x="68" y="1"/>
                    <a:pt x="40" y="20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49"/>
            <p:cNvSpPr>
              <a:spLocks/>
            </p:cNvSpPr>
            <p:nvPr userDrawn="1"/>
          </p:nvSpPr>
          <p:spPr bwMode="auto">
            <a:xfrm>
              <a:off x="7287295" y="6219920"/>
              <a:ext cx="406131" cy="354062"/>
            </a:xfrm>
            <a:custGeom>
              <a:avLst/>
              <a:gdLst>
                <a:gd name="T0" fmla="*/ 71 w 109"/>
                <a:gd name="T1" fmla="*/ 83 h 95"/>
                <a:gd name="T2" fmla="*/ 101 w 109"/>
                <a:gd name="T3" fmla="*/ 26 h 95"/>
                <a:gd name="T4" fmla="*/ 41 w 109"/>
                <a:gd name="T5" fmla="*/ 11 h 95"/>
                <a:gd name="T6" fmla="*/ 9 w 109"/>
                <a:gd name="T7" fmla="*/ 70 h 95"/>
                <a:gd name="T8" fmla="*/ 71 w 109"/>
                <a:gd name="T9" fmla="*/ 8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95">
                  <a:moveTo>
                    <a:pt x="71" y="83"/>
                  </a:moveTo>
                  <a:cubicBezTo>
                    <a:pt x="95" y="71"/>
                    <a:pt x="109" y="46"/>
                    <a:pt x="101" y="26"/>
                  </a:cubicBezTo>
                  <a:cubicBezTo>
                    <a:pt x="93" y="6"/>
                    <a:pt x="67" y="0"/>
                    <a:pt x="41" y="11"/>
                  </a:cubicBezTo>
                  <a:cubicBezTo>
                    <a:pt x="15" y="23"/>
                    <a:pt x="0" y="50"/>
                    <a:pt x="9" y="70"/>
                  </a:cubicBezTo>
                  <a:cubicBezTo>
                    <a:pt x="18" y="89"/>
                    <a:pt x="45" y="95"/>
                    <a:pt x="71" y="83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50"/>
            <p:cNvSpPr>
              <a:spLocks/>
            </p:cNvSpPr>
            <p:nvPr userDrawn="1"/>
          </p:nvSpPr>
          <p:spPr bwMode="auto">
            <a:xfrm>
              <a:off x="7149836" y="5736729"/>
              <a:ext cx="406131" cy="368642"/>
            </a:xfrm>
            <a:custGeom>
              <a:avLst/>
              <a:gdLst>
                <a:gd name="T0" fmla="*/ 63 w 109"/>
                <a:gd name="T1" fmla="*/ 91 h 99"/>
                <a:gd name="T2" fmla="*/ 106 w 109"/>
                <a:gd name="T3" fmla="*/ 36 h 99"/>
                <a:gd name="T4" fmla="*/ 48 w 109"/>
                <a:gd name="T5" fmla="*/ 7 h 99"/>
                <a:gd name="T6" fmla="*/ 4 w 109"/>
                <a:gd name="T7" fmla="*/ 63 h 99"/>
                <a:gd name="T8" fmla="*/ 63 w 109"/>
                <a:gd name="T9" fmla="*/ 9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99">
                  <a:moveTo>
                    <a:pt x="63" y="91"/>
                  </a:moveTo>
                  <a:cubicBezTo>
                    <a:pt x="90" y="83"/>
                    <a:pt x="109" y="59"/>
                    <a:pt x="106" y="36"/>
                  </a:cubicBezTo>
                  <a:cubicBezTo>
                    <a:pt x="102" y="13"/>
                    <a:pt x="76" y="0"/>
                    <a:pt x="48" y="7"/>
                  </a:cubicBezTo>
                  <a:cubicBezTo>
                    <a:pt x="19" y="14"/>
                    <a:pt x="0" y="39"/>
                    <a:pt x="4" y="63"/>
                  </a:cubicBezTo>
                  <a:cubicBezTo>
                    <a:pt x="9" y="86"/>
                    <a:pt x="35" y="99"/>
                    <a:pt x="63" y="91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51"/>
            <p:cNvSpPr>
              <a:spLocks/>
            </p:cNvSpPr>
            <p:nvPr userDrawn="1"/>
          </p:nvSpPr>
          <p:spPr bwMode="auto">
            <a:xfrm>
              <a:off x="7116512" y="5195222"/>
              <a:ext cx="401965" cy="358228"/>
            </a:xfrm>
            <a:custGeom>
              <a:avLst/>
              <a:gdLst>
                <a:gd name="T0" fmla="*/ 53 w 108"/>
                <a:gd name="T1" fmla="*/ 94 h 96"/>
                <a:gd name="T2" fmla="*/ 107 w 108"/>
                <a:gd name="T3" fmla="*/ 45 h 96"/>
                <a:gd name="T4" fmla="*/ 56 w 108"/>
                <a:gd name="T5" fmla="*/ 1 h 96"/>
                <a:gd name="T6" fmla="*/ 0 w 108"/>
                <a:gd name="T7" fmla="*/ 51 h 96"/>
                <a:gd name="T8" fmla="*/ 53 w 108"/>
                <a:gd name="T9" fmla="*/ 9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96">
                  <a:moveTo>
                    <a:pt x="53" y="94"/>
                  </a:moveTo>
                  <a:cubicBezTo>
                    <a:pt x="82" y="92"/>
                    <a:pt x="106" y="70"/>
                    <a:pt x="107" y="45"/>
                  </a:cubicBezTo>
                  <a:cubicBezTo>
                    <a:pt x="108" y="20"/>
                    <a:pt x="85" y="0"/>
                    <a:pt x="56" y="1"/>
                  </a:cubicBezTo>
                  <a:cubicBezTo>
                    <a:pt x="26" y="3"/>
                    <a:pt x="1" y="25"/>
                    <a:pt x="0" y="51"/>
                  </a:cubicBezTo>
                  <a:cubicBezTo>
                    <a:pt x="0" y="77"/>
                    <a:pt x="24" y="96"/>
                    <a:pt x="53" y="94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52"/>
            <p:cNvSpPr>
              <a:spLocks/>
            </p:cNvSpPr>
            <p:nvPr userDrawn="1"/>
          </p:nvSpPr>
          <p:spPr bwMode="auto">
            <a:xfrm>
              <a:off x="8868078" y="7338341"/>
              <a:ext cx="268671" cy="237430"/>
            </a:xfrm>
            <a:custGeom>
              <a:avLst/>
              <a:gdLst>
                <a:gd name="T0" fmla="*/ 8 w 72"/>
                <a:gd name="T1" fmla="*/ 32 h 64"/>
                <a:gd name="T2" fmla="*/ 23 w 72"/>
                <a:gd name="T3" fmla="*/ 64 h 64"/>
                <a:gd name="T4" fmla="*/ 64 w 72"/>
                <a:gd name="T5" fmla="*/ 33 h 64"/>
                <a:gd name="T6" fmla="*/ 51 w 72"/>
                <a:gd name="T7" fmla="*/ 1 h 64"/>
                <a:gd name="T8" fmla="*/ 8 w 72"/>
                <a:gd name="T9" fmla="*/ 3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64">
                  <a:moveTo>
                    <a:pt x="8" y="32"/>
                  </a:moveTo>
                  <a:cubicBezTo>
                    <a:pt x="0" y="50"/>
                    <a:pt x="7" y="64"/>
                    <a:pt x="23" y="64"/>
                  </a:cubicBezTo>
                  <a:cubicBezTo>
                    <a:pt x="38" y="64"/>
                    <a:pt x="57" y="50"/>
                    <a:pt x="64" y="33"/>
                  </a:cubicBezTo>
                  <a:cubicBezTo>
                    <a:pt x="72" y="16"/>
                    <a:pt x="66" y="1"/>
                    <a:pt x="51" y="1"/>
                  </a:cubicBezTo>
                  <a:cubicBezTo>
                    <a:pt x="35" y="0"/>
                    <a:pt x="16" y="14"/>
                    <a:pt x="8" y="32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53"/>
            <p:cNvSpPr>
              <a:spLocks/>
            </p:cNvSpPr>
            <p:nvPr userDrawn="1"/>
          </p:nvSpPr>
          <p:spPr bwMode="auto">
            <a:xfrm>
              <a:off x="8509850" y="7282107"/>
              <a:ext cx="291581" cy="268671"/>
            </a:xfrm>
            <a:custGeom>
              <a:avLst/>
              <a:gdLst>
                <a:gd name="T0" fmla="*/ 11 w 78"/>
                <a:gd name="T1" fmla="*/ 30 h 72"/>
                <a:gd name="T2" fmla="*/ 20 w 78"/>
                <a:gd name="T3" fmla="*/ 69 h 72"/>
                <a:gd name="T4" fmla="*/ 68 w 78"/>
                <a:gd name="T5" fmla="*/ 42 h 72"/>
                <a:gd name="T6" fmla="*/ 60 w 78"/>
                <a:gd name="T7" fmla="*/ 4 h 72"/>
                <a:gd name="T8" fmla="*/ 11 w 78"/>
                <a:gd name="T9" fmla="*/ 3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72">
                  <a:moveTo>
                    <a:pt x="11" y="30"/>
                  </a:moveTo>
                  <a:cubicBezTo>
                    <a:pt x="0" y="48"/>
                    <a:pt x="4" y="66"/>
                    <a:pt x="20" y="69"/>
                  </a:cubicBezTo>
                  <a:cubicBezTo>
                    <a:pt x="35" y="72"/>
                    <a:pt x="57" y="60"/>
                    <a:pt x="68" y="42"/>
                  </a:cubicBezTo>
                  <a:cubicBezTo>
                    <a:pt x="78" y="25"/>
                    <a:pt x="75" y="7"/>
                    <a:pt x="60" y="4"/>
                  </a:cubicBezTo>
                  <a:cubicBezTo>
                    <a:pt x="44" y="0"/>
                    <a:pt x="22" y="11"/>
                    <a:pt x="11" y="30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54"/>
            <p:cNvSpPr>
              <a:spLocks/>
            </p:cNvSpPr>
            <p:nvPr userDrawn="1"/>
          </p:nvSpPr>
          <p:spPr bwMode="auto">
            <a:xfrm>
              <a:off x="8159954" y="7148813"/>
              <a:ext cx="308242" cy="297829"/>
            </a:xfrm>
            <a:custGeom>
              <a:avLst/>
              <a:gdLst>
                <a:gd name="T0" fmla="*/ 15 w 83"/>
                <a:gd name="T1" fmla="*/ 27 h 80"/>
                <a:gd name="T2" fmla="*/ 16 w 83"/>
                <a:gd name="T3" fmla="*/ 73 h 80"/>
                <a:gd name="T4" fmla="*/ 69 w 83"/>
                <a:gd name="T5" fmla="*/ 53 h 80"/>
                <a:gd name="T6" fmla="*/ 69 w 83"/>
                <a:gd name="T7" fmla="*/ 8 h 80"/>
                <a:gd name="T8" fmla="*/ 15 w 83"/>
                <a:gd name="T9" fmla="*/ 2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80">
                  <a:moveTo>
                    <a:pt x="15" y="27"/>
                  </a:moveTo>
                  <a:cubicBezTo>
                    <a:pt x="0" y="45"/>
                    <a:pt x="0" y="66"/>
                    <a:pt x="16" y="73"/>
                  </a:cubicBezTo>
                  <a:cubicBezTo>
                    <a:pt x="31" y="80"/>
                    <a:pt x="55" y="71"/>
                    <a:pt x="69" y="53"/>
                  </a:cubicBezTo>
                  <a:cubicBezTo>
                    <a:pt x="83" y="35"/>
                    <a:pt x="83" y="15"/>
                    <a:pt x="69" y="8"/>
                  </a:cubicBezTo>
                  <a:cubicBezTo>
                    <a:pt x="54" y="0"/>
                    <a:pt x="30" y="9"/>
                    <a:pt x="15" y="27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55"/>
            <p:cNvSpPr>
              <a:spLocks/>
            </p:cNvSpPr>
            <p:nvPr userDrawn="1"/>
          </p:nvSpPr>
          <p:spPr bwMode="auto">
            <a:xfrm>
              <a:off x="7820471" y="6932210"/>
              <a:ext cx="349897" cy="316573"/>
            </a:xfrm>
            <a:custGeom>
              <a:avLst/>
              <a:gdLst>
                <a:gd name="T0" fmla="*/ 22 w 94"/>
                <a:gd name="T1" fmla="*/ 22 h 85"/>
                <a:gd name="T2" fmla="*/ 14 w 94"/>
                <a:gd name="T3" fmla="*/ 74 h 85"/>
                <a:gd name="T4" fmla="*/ 72 w 94"/>
                <a:gd name="T5" fmla="*/ 63 h 85"/>
                <a:gd name="T6" fmla="*/ 81 w 94"/>
                <a:gd name="T7" fmla="*/ 12 h 85"/>
                <a:gd name="T8" fmla="*/ 22 w 94"/>
                <a:gd name="T9" fmla="*/ 2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85">
                  <a:moveTo>
                    <a:pt x="22" y="22"/>
                  </a:moveTo>
                  <a:cubicBezTo>
                    <a:pt x="3" y="39"/>
                    <a:pt x="0" y="63"/>
                    <a:pt x="14" y="74"/>
                  </a:cubicBezTo>
                  <a:cubicBezTo>
                    <a:pt x="28" y="85"/>
                    <a:pt x="54" y="80"/>
                    <a:pt x="72" y="63"/>
                  </a:cubicBezTo>
                  <a:cubicBezTo>
                    <a:pt x="90" y="46"/>
                    <a:pt x="94" y="23"/>
                    <a:pt x="81" y="12"/>
                  </a:cubicBezTo>
                  <a:cubicBezTo>
                    <a:pt x="67" y="0"/>
                    <a:pt x="41" y="5"/>
                    <a:pt x="22" y="22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56"/>
            <p:cNvSpPr>
              <a:spLocks/>
            </p:cNvSpPr>
            <p:nvPr userDrawn="1"/>
          </p:nvSpPr>
          <p:spPr bwMode="auto">
            <a:xfrm>
              <a:off x="7518476" y="6626051"/>
              <a:ext cx="387386" cy="324904"/>
            </a:xfrm>
            <a:custGeom>
              <a:avLst/>
              <a:gdLst>
                <a:gd name="T0" fmla="*/ 32 w 104"/>
                <a:gd name="T1" fmla="*/ 15 h 87"/>
                <a:gd name="T2" fmla="*/ 12 w 104"/>
                <a:gd name="T3" fmla="*/ 72 h 87"/>
                <a:gd name="T4" fmla="*/ 74 w 104"/>
                <a:gd name="T5" fmla="*/ 72 h 87"/>
                <a:gd name="T6" fmla="*/ 93 w 104"/>
                <a:gd name="T7" fmla="*/ 17 h 87"/>
                <a:gd name="T8" fmla="*/ 32 w 104"/>
                <a:gd name="T9" fmla="*/ 1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87">
                  <a:moveTo>
                    <a:pt x="32" y="15"/>
                  </a:moveTo>
                  <a:cubicBezTo>
                    <a:pt x="9" y="31"/>
                    <a:pt x="0" y="56"/>
                    <a:pt x="12" y="72"/>
                  </a:cubicBezTo>
                  <a:cubicBezTo>
                    <a:pt x="24" y="87"/>
                    <a:pt x="52" y="87"/>
                    <a:pt x="74" y="72"/>
                  </a:cubicBezTo>
                  <a:cubicBezTo>
                    <a:pt x="95" y="57"/>
                    <a:pt x="104" y="33"/>
                    <a:pt x="93" y="17"/>
                  </a:cubicBezTo>
                  <a:cubicBezTo>
                    <a:pt x="82" y="1"/>
                    <a:pt x="55" y="0"/>
                    <a:pt x="32" y="15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57"/>
            <p:cNvSpPr>
              <a:spLocks/>
            </p:cNvSpPr>
            <p:nvPr userDrawn="1"/>
          </p:nvSpPr>
          <p:spPr bwMode="auto">
            <a:xfrm>
              <a:off x="7801726" y="6034559"/>
              <a:ext cx="312408" cy="289499"/>
            </a:xfrm>
            <a:custGeom>
              <a:avLst/>
              <a:gdLst>
                <a:gd name="T0" fmla="*/ 54 w 84"/>
                <a:gd name="T1" fmla="*/ 68 h 78"/>
                <a:gd name="T2" fmla="*/ 79 w 84"/>
                <a:gd name="T3" fmla="*/ 22 h 78"/>
                <a:gd name="T4" fmla="*/ 32 w 84"/>
                <a:gd name="T5" fmla="*/ 9 h 78"/>
                <a:gd name="T6" fmla="*/ 7 w 84"/>
                <a:gd name="T7" fmla="*/ 56 h 78"/>
                <a:gd name="T8" fmla="*/ 54 w 84"/>
                <a:gd name="T9" fmla="*/ 6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78">
                  <a:moveTo>
                    <a:pt x="54" y="68"/>
                  </a:moveTo>
                  <a:cubicBezTo>
                    <a:pt x="73" y="59"/>
                    <a:pt x="84" y="38"/>
                    <a:pt x="79" y="22"/>
                  </a:cubicBezTo>
                  <a:cubicBezTo>
                    <a:pt x="73" y="6"/>
                    <a:pt x="52" y="0"/>
                    <a:pt x="32" y="9"/>
                  </a:cubicBezTo>
                  <a:cubicBezTo>
                    <a:pt x="12" y="18"/>
                    <a:pt x="0" y="39"/>
                    <a:pt x="7" y="56"/>
                  </a:cubicBezTo>
                  <a:cubicBezTo>
                    <a:pt x="13" y="72"/>
                    <a:pt x="34" y="78"/>
                    <a:pt x="54" y="68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58"/>
            <p:cNvSpPr>
              <a:spLocks/>
            </p:cNvSpPr>
            <p:nvPr userDrawn="1"/>
          </p:nvSpPr>
          <p:spPr bwMode="auto">
            <a:xfrm>
              <a:off x="7708004" y="5634676"/>
              <a:ext cx="310326" cy="297829"/>
            </a:xfrm>
            <a:custGeom>
              <a:avLst/>
              <a:gdLst>
                <a:gd name="T0" fmla="*/ 47 w 83"/>
                <a:gd name="T1" fmla="*/ 74 h 80"/>
                <a:gd name="T2" fmla="*/ 81 w 83"/>
                <a:gd name="T3" fmla="*/ 30 h 80"/>
                <a:gd name="T4" fmla="*/ 37 w 83"/>
                <a:gd name="T5" fmla="*/ 6 h 80"/>
                <a:gd name="T6" fmla="*/ 3 w 83"/>
                <a:gd name="T7" fmla="*/ 51 h 80"/>
                <a:gd name="T8" fmla="*/ 47 w 83"/>
                <a:gd name="T9" fmla="*/ 7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80">
                  <a:moveTo>
                    <a:pt x="47" y="74"/>
                  </a:moveTo>
                  <a:cubicBezTo>
                    <a:pt x="68" y="68"/>
                    <a:pt x="83" y="49"/>
                    <a:pt x="81" y="30"/>
                  </a:cubicBezTo>
                  <a:cubicBezTo>
                    <a:pt x="78" y="11"/>
                    <a:pt x="59" y="0"/>
                    <a:pt x="37" y="6"/>
                  </a:cubicBezTo>
                  <a:cubicBezTo>
                    <a:pt x="16" y="11"/>
                    <a:pt x="0" y="31"/>
                    <a:pt x="3" y="51"/>
                  </a:cubicBezTo>
                  <a:cubicBezTo>
                    <a:pt x="6" y="70"/>
                    <a:pt x="25" y="80"/>
                    <a:pt x="47" y="74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59"/>
            <p:cNvSpPr>
              <a:spLocks/>
            </p:cNvSpPr>
            <p:nvPr userDrawn="1"/>
          </p:nvSpPr>
          <p:spPr bwMode="auto">
            <a:xfrm>
              <a:off x="8197443" y="6640629"/>
              <a:ext cx="283250" cy="260341"/>
            </a:xfrm>
            <a:custGeom>
              <a:avLst/>
              <a:gdLst>
                <a:gd name="T0" fmla="*/ 19 w 76"/>
                <a:gd name="T1" fmla="*/ 16 h 70"/>
                <a:gd name="T2" fmla="*/ 12 w 76"/>
                <a:gd name="T3" fmla="*/ 60 h 70"/>
                <a:gd name="T4" fmla="*/ 58 w 76"/>
                <a:gd name="T5" fmla="*/ 53 h 70"/>
                <a:gd name="T6" fmla="*/ 66 w 76"/>
                <a:gd name="T7" fmla="*/ 10 h 70"/>
                <a:gd name="T8" fmla="*/ 19 w 76"/>
                <a:gd name="T9" fmla="*/ 1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70">
                  <a:moveTo>
                    <a:pt x="19" y="16"/>
                  </a:moveTo>
                  <a:cubicBezTo>
                    <a:pt x="4" y="31"/>
                    <a:pt x="0" y="50"/>
                    <a:pt x="12" y="60"/>
                  </a:cubicBezTo>
                  <a:cubicBezTo>
                    <a:pt x="22" y="70"/>
                    <a:pt x="43" y="67"/>
                    <a:pt x="58" y="53"/>
                  </a:cubicBezTo>
                  <a:cubicBezTo>
                    <a:pt x="72" y="39"/>
                    <a:pt x="76" y="20"/>
                    <a:pt x="66" y="10"/>
                  </a:cubicBezTo>
                  <a:cubicBezTo>
                    <a:pt x="55" y="0"/>
                    <a:pt x="34" y="3"/>
                    <a:pt x="19" y="16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60"/>
            <p:cNvSpPr>
              <a:spLocks/>
            </p:cNvSpPr>
            <p:nvPr userDrawn="1"/>
          </p:nvSpPr>
          <p:spPr bwMode="auto">
            <a:xfrm>
              <a:off x="7972509" y="6371959"/>
              <a:ext cx="301995" cy="272837"/>
            </a:xfrm>
            <a:custGeom>
              <a:avLst/>
              <a:gdLst>
                <a:gd name="T0" fmla="*/ 25 w 81"/>
                <a:gd name="T1" fmla="*/ 12 h 73"/>
                <a:gd name="T2" fmla="*/ 9 w 81"/>
                <a:gd name="T3" fmla="*/ 59 h 73"/>
                <a:gd name="T4" fmla="*/ 56 w 81"/>
                <a:gd name="T5" fmla="*/ 61 h 73"/>
                <a:gd name="T6" fmla="*/ 72 w 81"/>
                <a:gd name="T7" fmla="*/ 15 h 73"/>
                <a:gd name="T8" fmla="*/ 25 w 81"/>
                <a:gd name="T9" fmla="*/ 1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73">
                  <a:moveTo>
                    <a:pt x="25" y="12"/>
                  </a:moveTo>
                  <a:cubicBezTo>
                    <a:pt x="7" y="25"/>
                    <a:pt x="0" y="46"/>
                    <a:pt x="9" y="59"/>
                  </a:cubicBezTo>
                  <a:cubicBezTo>
                    <a:pt x="18" y="72"/>
                    <a:pt x="39" y="73"/>
                    <a:pt x="56" y="61"/>
                  </a:cubicBezTo>
                  <a:cubicBezTo>
                    <a:pt x="74" y="49"/>
                    <a:pt x="81" y="29"/>
                    <a:pt x="72" y="15"/>
                  </a:cubicBezTo>
                  <a:cubicBezTo>
                    <a:pt x="64" y="2"/>
                    <a:pt x="43" y="0"/>
                    <a:pt x="25" y="12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61"/>
            <p:cNvSpPr>
              <a:spLocks/>
            </p:cNvSpPr>
            <p:nvPr userDrawn="1"/>
          </p:nvSpPr>
          <p:spPr bwMode="auto">
            <a:xfrm>
              <a:off x="5604458" y="534097"/>
              <a:ext cx="529011" cy="404047"/>
            </a:xfrm>
            <a:custGeom>
              <a:avLst/>
              <a:gdLst>
                <a:gd name="T0" fmla="*/ 84 w 142"/>
                <a:gd name="T1" fmla="*/ 8 h 108"/>
                <a:gd name="T2" fmla="*/ 137 w 142"/>
                <a:gd name="T3" fmla="*/ 67 h 108"/>
                <a:gd name="T4" fmla="*/ 63 w 142"/>
                <a:gd name="T5" fmla="*/ 101 h 108"/>
                <a:gd name="T6" fmla="*/ 7 w 142"/>
                <a:gd name="T7" fmla="*/ 40 h 108"/>
                <a:gd name="T8" fmla="*/ 84 w 142"/>
                <a:gd name="T9" fmla="*/ 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108">
                  <a:moveTo>
                    <a:pt x="84" y="8"/>
                  </a:moveTo>
                  <a:cubicBezTo>
                    <a:pt x="119" y="15"/>
                    <a:pt x="142" y="41"/>
                    <a:pt x="137" y="67"/>
                  </a:cubicBezTo>
                  <a:cubicBezTo>
                    <a:pt x="132" y="92"/>
                    <a:pt x="99" y="108"/>
                    <a:pt x="63" y="101"/>
                  </a:cubicBezTo>
                  <a:cubicBezTo>
                    <a:pt x="26" y="94"/>
                    <a:pt x="0" y="67"/>
                    <a:pt x="7" y="40"/>
                  </a:cubicBezTo>
                  <a:cubicBezTo>
                    <a:pt x="14" y="14"/>
                    <a:pt x="48" y="0"/>
                    <a:pt x="84" y="8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62"/>
            <p:cNvSpPr>
              <a:spLocks/>
            </p:cNvSpPr>
            <p:nvPr userDrawn="1"/>
          </p:nvSpPr>
          <p:spPr bwMode="auto">
            <a:xfrm>
              <a:off x="5548224" y="1148500"/>
              <a:ext cx="524845" cy="404047"/>
            </a:xfrm>
            <a:custGeom>
              <a:avLst/>
              <a:gdLst>
                <a:gd name="T0" fmla="*/ 71 w 141"/>
                <a:gd name="T1" fmla="*/ 1 h 108"/>
                <a:gd name="T2" fmla="*/ 140 w 141"/>
                <a:gd name="T3" fmla="*/ 55 h 108"/>
                <a:gd name="T4" fmla="*/ 72 w 141"/>
                <a:gd name="T5" fmla="*/ 108 h 108"/>
                <a:gd name="T6" fmla="*/ 0 w 141"/>
                <a:gd name="T7" fmla="*/ 52 h 108"/>
                <a:gd name="T8" fmla="*/ 71 w 141"/>
                <a:gd name="T9" fmla="*/ 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8">
                  <a:moveTo>
                    <a:pt x="71" y="1"/>
                  </a:moveTo>
                  <a:cubicBezTo>
                    <a:pt x="109" y="3"/>
                    <a:pt x="139" y="27"/>
                    <a:pt x="140" y="55"/>
                  </a:cubicBezTo>
                  <a:cubicBezTo>
                    <a:pt x="141" y="84"/>
                    <a:pt x="111" y="108"/>
                    <a:pt x="72" y="108"/>
                  </a:cubicBezTo>
                  <a:cubicBezTo>
                    <a:pt x="33" y="108"/>
                    <a:pt x="0" y="83"/>
                    <a:pt x="0" y="52"/>
                  </a:cubicBezTo>
                  <a:cubicBezTo>
                    <a:pt x="0" y="23"/>
                    <a:pt x="32" y="0"/>
                    <a:pt x="71" y="1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63"/>
            <p:cNvSpPr>
              <a:spLocks/>
            </p:cNvSpPr>
            <p:nvPr userDrawn="1"/>
          </p:nvSpPr>
          <p:spPr bwMode="auto">
            <a:xfrm>
              <a:off x="5604458" y="1798308"/>
              <a:ext cx="583161" cy="472778"/>
            </a:xfrm>
            <a:custGeom>
              <a:avLst/>
              <a:gdLst>
                <a:gd name="T0" fmla="*/ 67 w 157"/>
                <a:gd name="T1" fmla="*/ 6 h 127"/>
                <a:gd name="T2" fmla="*/ 149 w 157"/>
                <a:gd name="T3" fmla="*/ 49 h 127"/>
                <a:gd name="T4" fmla="*/ 94 w 157"/>
                <a:gd name="T5" fmla="*/ 119 h 127"/>
                <a:gd name="T6" fmla="*/ 7 w 157"/>
                <a:gd name="T7" fmla="*/ 75 h 127"/>
                <a:gd name="T8" fmla="*/ 67 w 157"/>
                <a:gd name="T9" fmla="*/ 6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27">
                  <a:moveTo>
                    <a:pt x="67" y="6"/>
                  </a:moveTo>
                  <a:cubicBezTo>
                    <a:pt x="105" y="0"/>
                    <a:pt x="142" y="19"/>
                    <a:pt x="149" y="49"/>
                  </a:cubicBezTo>
                  <a:cubicBezTo>
                    <a:pt x="157" y="80"/>
                    <a:pt x="133" y="112"/>
                    <a:pt x="94" y="119"/>
                  </a:cubicBezTo>
                  <a:cubicBezTo>
                    <a:pt x="54" y="127"/>
                    <a:pt x="15" y="108"/>
                    <a:pt x="7" y="75"/>
                  </a:cubicBezTo>
                  <a:cubicBezTo>
                    <a:pt x="0" y="43"/>
                    <a:pt x="27" y="12"/>
                    <a:pt x="67" y="6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64"/>
            <p:cNvSpPr>
              <a:spLocks/>
            </p:cNvSpPr>
            <p:nvPr userDrawn="1"/>
          </p:nvSpPr>
          <p:spPr bwMode="auto">
            <a:xfrm>
              <a:off x="5837723" y="2464778"/>
              <a:ext cx="612319" cy="537342"/>
            </a:xfrm>
            <a:custGeom>
              <a:avLst/>
              <a:gdLst>
                <a:gd name="T0" fmla="*/ 57 w 164"/>
                <a:gd name="T1" fmla="*/ 14 h 144"/>
                <a:gd name="T2" fmla="*/ 150 w 164"/>
                <a:gd name="T3" fmla="*/ 43 h 144"/>
                <a:gd name="T4" fmla="*/ 111 w 164"/>
                <a:gd name="T5" fmla="*/ 127 h 144"/>
                <a:gd name="T6" fmla="*/ 15 w 164"/>
                <a:gd name="T7" fmla="*/ 100 h 144"/>
                <a:gd name="T8" fmla="*/ 57 w 164"/>
                <a:gd name="T9" fmla="*/ 1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44">
                  <a:moveTo>
                    <a:pt x="57" y="14"/>
                  </a:moveTo>
                  <a:cubicBezTo>
                    <a:pt x="94" y="0"/>
                    <a:pt x="135" y="13"/>
                    <a:pt x="150" y="43"/>
                  </a:cubicBezTo>
                  <a:cubicBezTo>
                    <a:pt x="164" y="73"/>
                    <a:pt x="147" y="111"/>
                    <a:pt x="111" y="127"/>
                  </a:cubicBezTo>
                  <a:cubicBezTo>
                    <a:pt x="73" y="144"/>
                    <a:pt x="30" y="132"/>
                    <a:pt x="15" y="100"/>
                  </a:cubicBezTo>
                  <a:cubicBezTo>
                    <a:pt x="0" y="68"/>
                    <a:pt x="19" y="29"/>
                    <a:pt x="57" y="14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65"/>
            <p:cNvSpPr>
              <a:spLocks/>
            </p:cNvSpPr>
            <p:nvPr userDrawn="1"/>
          </p:nvSpPr>
          <p:spPr bwMode="auto">
            <a:xfrm>
              <a:off x="6243852" y="3116669"/>
              <a:ext cx="603989" cy="558169"/>
            </a:xfrm>
            <a:custGeom>
              <a:avLst/>
              <a:gdLst>
                <a:gd name="T0" fmla="*/ 45 w 162"/>
                <a:gd name="T1" fmla="*/ 22 h 150"/>
                <a:gd name="T2" fmla="*/ 141 w 162"/>
                <a:gd name="T3" fmla="*/ 31 h 150"/>
                <a:gd name="T4" fmla="*/ 122 w 162"/>
                <a:gd name="T5" fmla="*/ 125 h 150"/>
                <a:gd name="T6" fmla="*/ 22 w 162"/>
                <a:gd name="T7" fmla="*/ 118 h 150"/>
                <a:gd name="T8" fmla="*/ 45 w 162"/>
                <a:gd name="T9" fmla="*/ 2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150">
                  <a:moveTo>
                    <a:pt x="45" y="22"/>
                  </a:moveTo>
                  <a:cubicBezTo>
                    <a:pt x="78" y="0"/>
                    <a:pt x="120" y="4"/>
                    <a:pt x="141" y="31"/>
                  </a:cubicBezTo>
                  <a:cubicBezTo>
                    <a:pt x="162" y="59"/>
                    <a:pt x="154" y="101"/>
                    <a:pt x="122" y="125"/>
                  </a:cubicBezTo>
                  <a:cubicBezTo>
                    <a:pt x="90" y="150"/>
                    <a:pt x="44" y="147"/>
                    <a:pt x="22" y="118"/>
                  </a:cubicBezTo>
                  <a:cubicBezTo>
                    <a:pt x="0" y="89"/>
                    <a:pt x="11" y="46"/>
                    <a:pt x="45" y="22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66"/>
            <p:cNvSpPr>
              <a:spLocks/>
            </p:cNvSpPr>
            <p:nvPr userDrawn="1"/>
          </p:nvSpPr>
          <p:spPr bwMode="auto">
            <a:xfrm>
              <a:off x="6806186" y="3679003"/>
              <a:ext cx="551921" cy="593576"/>
            </a:xfrm>
            <a:custGeom>
              <a:avLst/>
              <a:gdLst>
                <a:gd name="T0" fmla="*/ 28 w 148"/>
                <a:gd name="T1" fmla="*/ 35 h 159"/>
                <a:gd name="T2" fmla="*/ 122 w 148"/>
                <a:gd name="T3" fmla="*/ 23 h 159"/>
                <a:gd name="T4" fmla="*/ 123 w 148"/>
                <a:gd name="T5" fmla="*/ 119 h 159"/>
                <a:gd name="T6" fmla="*/ 27 w 148"/>
                <a:gd name="T7" fmla="*/ 135 h 159"/>
                <a:gd name="T8" fmla="*/ 28 w 148"/>
                <a:gd name="T9" fmla="*/ 35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159">
                  <a:moveTo>
                    <a:pt x="28" y="35"/>
                  </a:moveTo>
                  <a:cubicBezTo>
                    <a:pt x="55" y="5"/>
                    <a:pt x="96" y="0"/>
                    <a:pt x="122" y="23"/>
                  </a:cubicBezTo>
                  <a:cubicBezTo>
                    <a:pt x="147" y="46"/>
                    <a:pt x="148" y="89"/>
                    <a:pt x="123" y="119"/>
                  </a:cubicBezTo>
                  <a:cubicBezTo>
                    <a:pt x="97" y="151"/>
                    <a:pt x="54" y="159"/>
                    <a:pt x="27" y="135"/>
                  </a:cubicBezTo>
                  <a:cubicBezTo>
                    <a:pt x="0" y="111"/>
                    <a:pt x="0" y="66"/>
                    <a:pt x="28" y="35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67"/>
            <p:cNvSpPr>
              <a:spLocks/>
            </p:cNvSpPr>
            <p:nvPr userDrawn="1"/>
          </p:nvSpPr>
          <p:spPr bwMode="auto">
            <a:xfrm>
              <a:off x="7437251" y="4118457"/>
              <a:ext cx="529011" cy="603989"/>
            </a:xfrm>
            <a:custGeom>
              <a:avLst/>
              <a:gdLst>
                <a:gd name="T0" fmla="*/ 20 w 142"/>
                <a:gd name="T1" fmla="*/ 49 h 162"/>
                <a:gd name="T2" fmla="*/ 105 w 142"/>
                <a:gd name="T3" fmla="*/ 17 h 162"/>
                <a:gd name="T4" fmla="*/ 125 w 142"/>
                <a:gd name="T5" fmla="*/ 109 h 162"/>
                <a:gd name="T6" fmla="*/ 39 w 142"/>
                <a:gd name="T7" fmla="*/ 145 h 162"/>
                <a:gd name="T8" fmla="*/ 20 w 142"/>
                <a:gd name="T9" fmla="*/ 49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162">
                  <a:moveTo>
                    <a:pt x="20" y="49"/>
                  </a:moveTo>
                  <a:cubicBezTo>
                    <a:pt x="39" y="14"/>
                    <a:pt x="77" y="0"/>
                    <a:pt x="105" y="17"/>
                  </a:cubicBezTo>
                  <a:cubicBezTo>
                    <a:pt x="133" y="33"/>
                    <a:pt x="142" y="74"/>
                    <a:pt x="125" y="109"/>
                  </a:cubicBezTo>
                  <a:cubicBezTo>
                    <a:pt x="107" y="145"/>
                    <a:pt x="69" y="162"/>
                    <a:pt x="39" y="145"/>
                  </a:cubicBezTo>
                  <a:cubicBezTo>
                    <a:pt x="8" y="128"/>
                    <a:pt x="0" y="84"/>
                    <a:pt x="20" y="49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68"/>
            <p:cNvSpPr>
              <a:spLocks/>
            </p:cNvSpPr>
            <p:nvPr userDrawn="1"/>
          </p:nvSpPr>
          <p:spPr bwMode="auto">
            <a:xfrm>
              <a:off x="8118299" y="4420451"/>
              <a:ext cx="472778" cy="574830"/>
            </a:xfrm>
            <a:custGeom>
              <a:avLst/>
              <a:gdLst>
                <a:gd name="T0" fmla="*/ 11 w 127"/>
                <a:gd name="T1" fmla="*/ 58 h 154"/>
                <a:gd name="T2" fmla="*/ 83 w 127"/>
                <a:gd name="T3" fmla="*/ 9 h 154"/>
                <a:gd name="T4" fmla="*/ 118 w 127"/>
                <a:gd name="T5" fmla="*/ 92 h 154"/>
                <a:gd name="T6" fmla="*/ 46 w 127"/>
                <a:gd name="T7" fmla="*/ 145 h 154"/>
                <a:gd name="T8" fmla="*/ 11 w 127"/>
                <a:gd name="T9" fmla="*/ 5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54">
                  <a:moveTo>
                    <a:pt x="11" y="58"/>
                  </a:moveTo>
                  <a:cubicBezTo>
                    <a:pt x="22" y="21"/>
                    <a:pt x="54" y="0"/>
                    <a:pt x="83" y="9"/>
                  </a:cubicBezTo>
                  <a:cubicBezTo>
                    <a:pt x="112" y="19"/>
                    <a:pt x="127" y="55"/>
                    <a:pt x="118" y="92"/>
                  </a:cubicBezTo>
                  <a:cubicBezTo>
                    <a:pt x="108" y="130"/>
                    <a:pt x="76" y="154"/>
                    <a:pt x="46" y="145"/>
                  </a:cubicBezTo>
                  <a:cubicBezTo>
                    <a:pt x="16" y="136"/>
                    <a:pt x="0" y="97"/>
                    <a:pt x="11" y="58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69"/>
            <p:cNvSpPr>
              <a:spLocks/>
            </p:cNvSpPr>
            <p:nvPr userDrawn="1"/>
          </p:nvSpPr>
          <p:spPr bwMode="auto">
            <a:xfrm>
              <a:off x="8797266" y="4572490"/>
              <a:ext cx="393635" cy="518598"/>
            </a:xfrm>
            <a:custGeom>
              <a:avLst/>
              <a:gdLst>
                <a:gd name="T0" fmla="*/ 3 w 106"/>
                <a:gd name="T1" fmla="*/ 65 h 139"/>
                <a:gd name="T2" fmla="*/ 60 w 106"/>
                <a:gd name="T3" fmla="*/ 3 h 139"/>
                <a:gd name="T4" fmla="*/ 104 w 106"/>
                <a:gd name="T5" fmla="*/ 73 h 139"/>
                <a:gd name="T6" fmla="*/ 49 w 106"/>
                <a:gd name="T7" fmla="*/ 137 h 139"/>
                <a:gd name="T8" fmla="*/ 3 w 106"/>
                <a:gd name="T9" fmla="*/ 6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39">
                  <a:moveTo>
                    <a:pt x="3" y="65"/>
                  </a:moveTo>
                  <a:cubicBezTo>
                    <a:pt x="7" y="27"/>
                    <a:pt x="32" y="0"/>
                    <a:pt x="60" y="3"/>
                  </a:cubicBezTo>
                  <a:cubicBezTo>
                    <a:pt x="87" y="6"/>
                    <a:pt x="106" y="37"/>
                    <a:pt x="104" y="73"/>
                  </a:cubicBezTo>
                  <a:cubicBezTo>
                    <a:pt x="102" y="110"/>
                    <a:pt x="78" y="139"/>
                    <a:pt x="49" y="137"/>
                  </a:cubicBezTo>
                  <a:cubicBezTo>
                    <a:pt x="21" y="136"/>
                    <a:pt x="0" y="103"/>
                    <a:pt x="3" y="65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70"/>
            <p:cNvSpPr>
              <a:spLocks/>
            </p:cNvSpPr>
            <p:nvPr userDrawn="1"/>
          </p:nvSpPr>
          <p:spPr bwMode="auto">
            <a:xfrm>
              <a:off x="9403338" y="4566241"/>
              <a:ext cx="362393" cy="499853"/>
            </a:xfrm>
            <a:custGeom>
              <a:avLst/>
              <a:gdLst>
                <a:gd name="T0" fmla="*/ 3 w 97"/>
                <a:gd name="T1" fmla="*/ 72 h 134"/>
                <a:gd name="T2" fmla="*/ 43 w 97"/>
                <a:gd name="T3" fmla="*/ 3 h 134"/>
                <a:gd name="T4" fmla="*/ 93 w 97"/>
                <a:gd name="T5" fmla="*/ 58 h 134"/>
                <a:gd name="T6" fmla="*/ 55 w 97"/>
                <a:gd name="T7" fmla="*/ 129 h 134"/>
                <a:gd name="T8" fmla="*/ 3 w 97"/>
                <a:gd name="T9" fmla="*/ 7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134">
                  <a:moveTo>
                    <a:pt x="3" y="72"/>
                  </a:moveTo>
                  <a:cubicBezTo>
                    <a:pt x="0" y="37"/>
                    <a:pt x="18" y="6"/>
                    <a:pt x="43" y="3"/>
                  </a:cubicBezTo>
                  <a:cubicBezTo>
                    <a:pt x="67" y="0"/>
                    <a:pt x="89" y="24"/>
                    <a:pt x="93" y="58"/>
                  </a:cubicBezTo>
                  <a:cubicBezTo>
                    <a:pt x="97" y="93"/>
                    <a:pt x="80" y="125"/>
                    <a:pt x="55" y="129"/>
                  </a:cubicBezTo>
                  <a:cubicBezTo>
                    <a:pt x="30" y="134"/>
                    <a:pt x="6" y="108"/>
                    <a:pt x="3" y="72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71"/>
            <p:cNvSpPr>
              <a:spLocks/>
            </p:cNvSpPr>
            <p:nvPr userDrawn="1"/>
          </p:nvSpPr>
          <p:spPr bwMode="auto">
            <a:xfrm>
              <a:off x="9921934" y="4424616"/>
              <a:ext cx="343649" cy="491522"/>
            </a:xfrm>
            <a:custGeom>
              <a:avLst/>
              <a:gdLst>
                <a:gd name="T0" fmla="*/ 8 w 92"/>
                <a:gd name="T1" fmla="*/ 81 h 132"/>
                <a:gd name="T2" fmla="*/ 32 w 92"/>
                <a:gd name="T3" fmla="*/ 8 h 132"/>
                <a:gd name="T4" fmla="*/ 83 w 92"/>
                <a:gd name="T5" fmla="*/ 48 h 132"/>
                <a:gd name="T6" fmla="*/ 61 w 92"/>
                <a:gd name="T7" fmla="*/ 122 h 132"/>
                <a:gd name="T8" fmla="*/ 8 w 92"/>
                <a:gd name="T9" fmla="*/ 8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32">
                  <a:moveTo>
                    <a:pt x="8" y="81"/>
                  </a:moveTo>
                  <a:cubicBezTo>
                    <a:pt x="0" y="49"/>
                    <a:pt x="11" y="16"/>
                    <a:pt x="32" y="8"/>
                  </a:cubicBezTo>
                  <a:cubicBezTo>
                    <a:pt x="52" y="0"/>
                    <a:pt x="75" y="18"/>
                    <a:pt x="83" y="48"/>
                  </a:cubicBezTo>
                  <a:cubicBezTo>
                    <a:pt x="92" y="79"/>
                    <a:pt x="82" y="112"/>
                    <a:pt x="61" y="122"/>
                  </a:cubicBezTo>
                  <a:cubicBezTo>
                    <a:pt x="40" y="132"/>
                    <a:pt x="16" y="113"/>
                    <a:pt x="8" y="81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72"/>
            <p:cNvSpPr>
              <a:spLocks/>
            </p:cNvSpPr>
            <p:nvPr userDrawn="1"/>
          </p:nvSpPr>
          <p:spPr bwMode="auto">
            <a:xfrm>
              <a:off x="10355140" y="4197600"/>
              <a:ext cx="308242" cy="462364"/>
            </a:xfrm>
            <a:custGeom>
              <a:avLst/>
              <a:gdLst>
                <a:gd name="T0" fmla="*/ 11 w 83"/>
                <a:gd name="T1" fmla="*/ 84 h 124"/>
                <a:gd name="T2" fmla="*/ 22 w 83"/>
                <a:gd name="T3" fmla="*/ 12 h 124"/>
                <a:gd name="T4" fmla="*/ 72 w 83"/>
                <a:gd name="T5" fmla="*/ 38 h 124"/>
                <a:gd name="T6" fmla="*/ 63 w 83"/>
                <a:gd name="T7" fmla="*/ 110 h 124"/>
                <a:gd name="T8" fmla="*/ 11 w 83"/>
                <a:gd name="T9" fmla="*/ 8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24">
                  <a:moveTo>
                    <a:pt x="11" y="84"/>
                  </a:moveTo>
                  <a:cubicBezTo>
                    <a:pt x="0" y="56"/>
                    <a:pt x="5" y="24"/>
                    <a:pt x="22" y="12"/>
                  </a:cubicBezTo>
                  <a:cubicBezTo>
                    <a:pt x="38" y="0"/>
                    <a:pt x="61" y="12"/>
                    <a:pt x="72" y="38"/>
                  </a:cubicBezTo>
                  <a:cubicBezTo>
                    <a:pt x="83" y="65"/>
                    <a:pt x="79" y="97"/>
                    <a:pt x="63" y="110"/>
                  </a:cubicBezTo>
                  <a:cubicBezTo>
                    <a:pt x="46" y="124"/>
                    <a:pt x="23" y="112"/>
                    <a:pt x="11" y="84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73"/>
            <p:cNvSpPr>
              <a:spLocks/>
            </p:cNvSpPr>
            <p:nvPr userDrawn="1"/>
          </p:nvSpPr>
          <p:spPr bwMode="auto">
            <a:xfrm>
              <a:off x="8145375" y="-992535"/>
              <a:ext cx="289499" cy="231182"/>
            </a:xfrm>
            <a:custGeom>
              <a:avLst/>
              <a:gdLst>
                <a:gd name="T0" fmla="*/ 7 w 78"/>
                <a:gd name="T1" fmla="*/ 26 h 62"/>
                <a:gd name="T2" fmla="*/ 28 w 78"/>
                <a:gd name="T3" fmla="*/ 2 h 62"/>
                <a:gd name="T4" fmla="*/ 72 w 78"/>
                <a:gd name="T5" fmla="*/ 35 h 62"/>
                <a:gd name="T6" fmla="*/ 52 w 78"/>
                <a:gd name="T7" fmla="*/ 60 h 62"/>
                <a:gd name="T8" fmla="*/ 7 w 78"/>
                <a:gd name="T9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2">
                  <a:moveTo>
                    <a:pt x="7" y="26"/>
                  </a:moveTo>
                  <a:cubicBezTo>
                    <a:pt x="0" y="10"/>
                    <a:pt x="10" y="0"/>
                    <a:pt x="28" y="2"/>
                  </a:cubicBezTo>
                  <a:cubicBezTo>
                    <a:pt x="46" y="5"/>
                    <a:pt x="65" y="19"/>
                    <a:pt x="72" y="35"/>
                  </a:cubicBezTo>
                  <a:cubicBezTo>
                    <a:pt x="78" y="51"/>
                    <a:pt x="70" y="62"/>
                    <a:pt x="52" y="60"/>
                  </a:cubicBezTo>
                  <a:cubicBezTo>
                    <a:pt x="34" y="58"/>
                    <a:pt x="14" y="43"/>
                    <a:pt x="7" y="26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74"/>
            <p:cNvSpPr>
              <a:spLocks/>
            </p:cNvSpPr>
            <p:nvPr userDrawn="1"/>
          </p:nvSpPr>
          <p:spPr bwMode="auto">
            <a:xfrm>
              <a:off x="10696705" y="3906020"/>
              <a:ext cx="277002" cy="420709"/>
            </a:xfrm>
            <a:custGeom>
              <a:avLst/>
              <a:gdLst>
                <a:gd name="T0" fmla="*/ 14 w 74"/>
                <a:gd name="T1" fmla="*/ 83 h 113"/>
                <a:gd name="T2" fmla="*/ 13 w 74"/>
                <a:gd name="T3" fmla="*/ 14 h 113"/>
                <a:gd name="T4" fmla="*/ 60 w 74"/>
                <a:gd name="T5" fmla="*/ 28 h 113"/>
                <a:gd name="T6" fmla="*/ 62 w 74"/>
                <a:gd name="T7" fmla="*/ 97 h 113"/>
                <a:gd name="T8" fmla="*/ 14 w 74"/>
                <a:gd name="T9" fmla="*/ 8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113">
                  <a:moveTo>
                    <a:pt x="14" y="83"/>
                  </a:moveTo>
                  <a:cubicBezTo>
                    <a:pt x="1" y="60"/>
                    <a:pt x="0" y="29"/>
                    <a:pt x="13" y="14"/>
                  </a:cubicBezTo>
                  <a:cubicBezTo>
                    <a:pt x="26" y="0"/>
                    <a:pt x="47" y="6"/>
                    <a:pt x="60" y="28"/>
                  </a:cubicBezTo>
                  <a:cubicBezTo>
                    <a:pt x="73" y="51"/>
                    <a:pt x="74" y="81"/>
                    <a:pt x="62" y="97"/>
                  </a:cubicBezTo>
                  <a:cubicBezTo>
                    <a:pt x="49" y="113"/>
                    <a:pt x="28" y="107"/>
                    <a:pt x="14" y="83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75"/>
            <p:cNvSpPr>
              <a:spLocks/>
            </p:cNvSpPr>
            <p:nvPr userDrawn="1"/>
          </p:nvSpPr>
          <p:spPr bwMode="auto">
            <a:xfrm>
              <a:off x="7726748" y="-1015446"/>
              <a:ext cx="324904" cy="231182"/>
            </a:xfrm>
            <a:custGeom>
              <a:avLst/>
              <a:gdLst>
                <a:gd name="T0" fmla="*/ 10 w 87"/>
                <a:gd name="T1" fmla="*/ 31 h 62"/>
                <a:gd name="T2" fmla="*/ 26 w 87"/>
                <a:gd name="T3" fmla="*/ 0 h 62"/>
                <a:gd name="T4" fmla="*/ 77 w 87"/>
                <a:gd name="T5" fmla="*/ 30 h 62"/>
                <a:gd name="T6" fmla="*/ 62 w 87"/>
                <a:gd name="T7" fmla="*/ 62 h 62"/>
                <a:gd name="T8" fmla="*/ 10 w 87"/>
                <a:gd name="T9" fmla="*/ 3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62">
                  <a:moveTo>
                    <a:pt x="10" y="31"/>
                  </a:moveTo>
                  <a:cubicBezTo>
                    <a:pt x="0" y="14"/>
                    <a:pt x="7" y="0"/>
                    <a:pt x="26" y="0"/>
                  </a:cubicBezTo>
                  <a:cubicBezTo>
                    <a:pt x="44" y="0"/>
                    <a:pt x="67" y="13"/>
                    <a:pt x="77" y="30"/>
                  </a:cubicBezTo>
                  <a:cubicBezTo>
                    <a:pt x="87" y="47"/>
                    <a:pt x="80" y="61"/>
                    <a:pt x="62" y="62"/>
                  </a:cubicBezTo>
                  <a:cubicBezTo>
                    <a:pt x="44" y="62"/>
                    <a:pt x="20" y="49"/>
                    <a:pt x="10" y="31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76"/>
            <p:cNvSpPr>
              <a:spLocks/>
            </p:cNvSpPr>
            <p:nvPr userDrawn="1"/>
          </p:nvSpPr>
          <p:spPr bwMode="auto">
            <a:xfrm>
              <a:off x="10942466" y="3570701"/>
              <a:ext cx="262423" cy="376973"/>
            </a:xfrm>
            <a:custGeom>
              <a:avLst/>
              <a:gdLst>
                <a:gd name="T0" fmla="*/ 19 w 70"/>
                <a:gd name="T1" fmla="*/ 81 h 101"/>
                <a:gd name="T2" fmla="*/ 9 w 70"/>
                <a:gd name="T3" fmla="*/ 16 h 101"/>
                <a:gd name="T4" fmla="*/ 51 w 70"/>
                <a:gd name="T5" fmla="*/ 20 h 101"/>
                <a:gd name="T6" fmla="*/ 61 w 70"/>
                <a:gd name="T7" fmla="*/ 84 h 101"/>
                <a:gd name="T8" fmla="*/ 19 w 70"/>
                <a:gd name="T9" fmla="*/ 8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101">
                  <a:moveTo>
                    <a:pt x="19" y="81"/>
                  </a:moveTo>
                  <a:cubicBezTo>
                    <a:pt x="4" y="62"/>
                    <a:pt x="0" y="33"/>
                    <a:pt x="9" y="16"/>
                  </a:cubicBezTo>
                  <a:cubicBezTo>
                    <a:pt x="18" y="0"/>
                    <a:pt x="36" y="2"/>
                    <a:pt x="51" y="20"/>
                  </a:cubicBezTo>
                  <a:cubicBezTo>
                    <a:pt x="65" y="39"/>
                    <a:pt x="70" y="67"/>
                    <a:pt x="61" y="84"/>
                  </a:cubicBezTo>
                  <a:cubicBezTo>
                    <a:pt x="53" y="101"/>
                    <a:pt x="34" y="100"/>
                    <a:pt x="19" y="81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77"/>
            <p:cNvSpPr>
              <a:spLocks/>
            </p:cNvSpPr>
            <p:nvPr userDrawn="1"/>
          </p:nvSpPr>
          <p:spPr bwMode="auto">
            <a:xfrm>
              <a:off x="7301873" y="-988370"/>
              <a:ext cx="354062" cy="264506"/>
            </a:xfrm>
            <a:custGeom>
              <a:avLst/>
              <a:gdLst>
                <a:gd name="T0" fmla="*/ 14 w 95"/>
                <a:gd name="T1" fmla="*/ 42 h 71"/>
                <a:gd name="T2" fmla="*/ 23 w 95"/>
                <a:gd name="T3" fmla="*/ 3 h 71"/>
                <a:gd name="T4" fmla="*/ 81 w 95"/>
                <a:gd name="T5" fmla="*/ 29 h 71"/>
                <a:gd name="T6" fmla="*/ 73 w 95"/>
                <a:gd name="T7" fmla="*/ 67 h 71"/>
                <a:gd name="T8" fmla="*/ 14 w 95"/>
                <a:gd name="T9" fmla="*/ 4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71">
                  <a:moveTo>
                    <a:pt x="14" y="42"/>
                  </a:moveTo>
                  <a:cubicBezTo>
                    <a:pt x="0" y="24"/>
                    <a:pt x="4" y="7"/>
                    <a:pt x="23" y="3"/>
                  </a:cubicBezTo>
                  <a:cubicBezTo>
                    <a:pt x="42" y="0"/>
                    <a:pt x="68" y="12"/>
                    <a:pt x="81" y="29"/>
                  </a:cubicBezTo>
                  <a:cubicBezTo>
                    <a:pt x="95" y="46"/>
                    <a:pt x="91" y="64"/>
                    <a:pt x="73" y="67"/>
                  </a:cubicBezTo>
                  <a:cubicBezTo>
                    <a:pt x="55" y="71"/>
                    <a:pt x="28" y="60"/>
                    <a:pt x="14" y="42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78"/>
            <p:cNvSpPr>
              <a:spLocks/>
            </p:cNvSpPr>
            <p:nvPr userDrawn="1"/>
          </p:nvSpPr>
          <p:spPr bwMode="auto">
            <a:xfrm>
              <a:off x="11111167" y="3206226"/>
              <a:ext cx="237430" cy="345731"/>
            </a:xfrm>
            <a:custGeom>
              <a:avLst/>
              <a:gdLst>
                <a:gd name="T0" fmla="*/ 22 w 64"/>
                <a:gd name="T1" fmla="*/ 78 h 93"/>
                <a:gd name="T2" fmla="*/ 5 w 64"/>
                <a:gd name="T3" fmla="*/ 19 h 93"/>
                <a:gd name="T4" fmla="*/ 42 w 64"/>
                <a:gd name="T5" fmla="*/ 14 h 93"/>
                <a:gd name="T6" fmla="*/ 59 w 64"/>
                <a:gd name="T7" fmla="*/ 72 h 93"/>
                <a:gd name="T8" fmla="*/ 22 w 64"/>
                <a:gd name="T9" fmla="*/ 78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93">
                  <a:moveTo>
                    <a:pt x="22" y="78"/>
                  </a:moveTo>
                  <a:cubicBezTo>
                    <a:pt x="7" y="63"/>
                    <a:pt x="0" y="37"/>
                    <a:pt x="5" y="19"/>
                  </a:cubicBezTo>
                  <a:cubicBezTo>
                    <a:pt x="11" y="2"/>
                    <a:pt x="27" y="0"/>
                    <a:pt x="42" y="14"/>
                  </a:cubicBezTo>
                  <a:cubicBezTo>
                    <a:pt x="56" y="29"/>
                    <a:pt x="64" y="55"/>
                    <a:pt x="59" y="72"/>
                  </a:cubicBezTo>
                  <a:cubicBezTo>
                    <a:pt x="54" y="90"/>
                    <a:pt x="37" y="93"/>
                    <a:pt x="22" y="78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79"/>
            <p:cNvSpPr>
              <a:spLocks/>
            </p:cNvSpPr>
            <p:nvPr userDrawn="1"/>
          </p:nvSpPr>
          <p:spPr bwMode="auto">
            <a:xfrm>
              <a:off x="6885330" y="-880069"/>
              <a:ext cx="376973" cy="293664"/>
            </a:xfrm>
            <a:custGeom>
              <a:avLst/>
              <a:gdLst>
                <a:gd name="T0" fmla="*/ 18 w 101"/>
                <a:gd name="T1" fmla="*/ 53 h 79"/>
                <a:gd name="T2" fmla="*/ 19 w 101"/>
                <a:gd name="T3" fmla="*/ 7 h 79"/>
                <a:gd name="T4" fmla="*/ 83 w 101"/>
                <a:gd name="T5" fmla="*/ 26 h 79"/>
                <a:gd name="T6" fmla="*/ 84 w 101"/>
                <a:gd name="T7" fmla="*/ 71 h 79"/>
                <a:gd name="T8" fmla="*/ 18 w 101"/>
                <a:gd name="T9" fmla="*/ 5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79">
                  <a:moveTo>
                    <a:pt x="18" y="53"/>
                  </a:moveTo>
                  <a:cubicBezTo>
                    <a:pt x="0" y="35"/>
                    <a:pt x="0" y="14"/>
                    <a:pt x="19" y="7"/>
                  </a:cubicBezTo>
                  <a:cubicBezTo>
                    <a:pt x="37" y="0"/>
                    <a:pt x="66" y="8"/>
                    <a:pt x="83" y="26"/>
                  </a:cubicBezTo>
                  <a:cubicBezTo>
                    <a:pt x="101" y="44"/>
                    <a:pt x="101" y="64"/>
                    <a:pt x="84" y="71"/>
                  </a:cubicBezTo>
                  <a:cubicBezTo>
                    <a:pt x="66" y="79"/>
                    <a:pt x="37" y="71"/>
                    <a:pt x="18" y="53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80"/>
            <p:cNvSpPr>
              <a:spLocks/>
            </p:cNvSpPr>
            <p:nvPr userDrawn="1"/>
          </p:nvSpPr>
          <p:spPr bwMode="auto">
            <a:xfrm>
              <a:off x="11206972" y="2823006"/>
              <a:ext cx="212437" cy="322822"/>
            </a:xfrm>
            <a:custGeom>
              <a:avLst/>
              <a:gdLst>
                <a:gd name="T0" fmla="*/ 25 w 57"/>
                <a:gd name="T1" fmla="*/ 76 h 87"/>
                <a:gd name="T2" fmla="*/ 2 w 57"/>
                <a:gd name="T3" fmla="*/ 23 h 87"/>
                <a:gd name="T4" fmla="*/ 33 w 57"/>
                <a:gd name="T5" fmla="*/ 11 h 87"/>
                <a:gd name="T6" fmla="*/ 55 w 57"/>
                <a:gd name="T7" fmla="*/ 63 h 87"/>
                <a:gd name="T8" fmla="*/ 25 w 57"/>
                <a:gd name="T9" fmla="*/ 7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87">
                  <a:moveTo>
                    <a:pt x="25" y="76"/>
                  </a:moveTo>
                  <a:cubicBezTo>
                    <a:pt x="10" y="65"/>
                    <a:pt x="0" y="41"/>
                    <a:pt x="2" y="23"/>
                  </a:cubicBezTo>
                  <a:cubicBezTo>
                    <a:pt x="5" y="5"/>
                    <a:pt x="19" y="0"/>
                    <a:pt x="33" y="11"/>
                  </a:cubicBezTo>
                  <a:cubicBezTo>
                    <a:pt x="48" y="22"/>
                    <a:pt x="57" y="45"/>
                    <a:pt x="55" y="63"/>
                  </a:cubicBezTo>
                  <a:cubicBezTo>
                    <a:pt x="53" y="81"/>
                    <a:pt x="40" y="87"/>
                    <a:pt x="25" y="76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81"/>
            <p:cNvSpPr>
              <a:spLocks/>
            </p:cNvSpPr>
            <p:nvPr userDrawn="1"/>
          </p:nvSpPr>
          <p:spPr bwMode="auto">
            <a:xfrm>
              <a:off x="6470869" y="-680128"/>
              <a:ext cx="433206" cy="316573"/>
            </a:xfrm>
            <a:custGeom>
              <a:avLst/>
              <a:gdLst>
                <a:gd name="T0" fmla="*/ 28 w 116"/>
                <a:gd name="T1" fmla="*/ 64 h 85"/>
                <a:gd name="T2" fmla="*/ 18 w 116"/>
                <a:gd name="T3" fmla="*/ 11 h 85"/>
                <a:gd name="T4" fmla="*/ 89 w 116"/>
                <a:gd name="T5" fmla="*/ 21 h 85"/>
                <a:gd name="T6" fmla="*/ 100 w 116"/>
                <a:gd name="T7" fmla="*/ 73 h 85"/>
                <a:gd name="T8" fmla="*/ 28 w 116"/>
                <a:gd name="T9" fmla="*/ 64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85">
                  <a:moveTo>
                    <a:pt x="28" y="64"/>
                  </a:moveTo>
                  <a:cubicBezTo>
                    <a:pt x="5" y="47"/>
                    <a:pt x="0" y="23"/>
                    <a:pt x="18" y="11"/>
                  </a:cubicBezTo>
                  <a:cubicBezTo>
                    <a:pt x="35" y="0"/>
                    <a:pt x="66" y="4"/>
                    <a:pt x="89" y="21"/>
                  </a:cubicBezTo>
                  <a:cubicBezTo>
                    <a:pt x="111" y="38"/>
                    <a:pt x="116" y="61"/>
                    <a:pt x="100" y="73"/>
                  </a:cubicBezTo>
                  <a:cubicBezTo>
                    <a:pt x="84" y="85"/>
                    <a:pt x="51" y="81"/>
                    <a:pt x="28" y="64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82"/>
            <p:cNvSpPr>
              <a:spLocks/>
            </p:cNvSpPr>
            <p:nvPr userDrawn="1"/>
          </p:nvSpPr>
          <p:spPr bwMode="auto">
            <a:xfrm>
              <a:off x="6102227" y="-373969"/>
              <a:ext cx="476943" cy="335318"/>
            </a:xfrm>
            <a:custGeom>
              <a:avLst/>
              <a:gdLst>
                <a:gd name="T0" fmla="*/ 39 w 128"/>
                <a:gd name="T1" fmla="*/ 75 h 90"/>
                <a:gd name="T2" fmla="*/ 15 w 128"/>
                <a:gd name="T3" fmla="*/ 16 h 90"/>
                <a:gd name="T4" fmla="*/ 91 w 128"/>
                <a:gd name="T5" fmla="*/ 15 h 90"/>
                <a:gd name="T6" fmla="*/ 114 w 128"/>
                <a:gd name="T7" fmla="*/ 72 h 90"/>
                <a:gd name="T8" fmla="*/ 39 w 128"/>
                <a:gd name="T9" fmla="*/ 7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90">
                  <a:moveTo>
                    <a:pt x="39" y="75"/>
                  </a:moveTo>
                  <a:cubicBezTo>
                    <a:pt x="10" y="59"/>
                    <a:pt x="0" y="33"/>
                    <a:pt x="15" y="16"/>
                  </a:cubicBezTo>
                  <a:cubicBezTo>
                    <a:pt x="30" y="0"/>
                    <a:pt x="64" y="0"/>
                    <a:pt x="91" y="15"/>
                  </a:cubicBezTo>
                  <a:cubicBezTo>
                    <a:pt x="117" y="30"/>
                    <a:pt x="128" y="55"/>
                    <a:pt x="114" y="72"/>
                  </a:cubicBezTo>
                  <a:cubicBezTo>
                    <a:pt x="100" y="89"/>
                    <a:pt x="67" y="90"/>
                    <a:pt x="39" y="75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83"/>
            <p:cNvSpPr>
              <a:spLocks/>
            </p:cNvSpPr>
            <p:nvPr userDrawn="1"/>
          </p:nvSpPr>
          <p:spPr bwMode="auto">
            <a:xfrm>
              <a:off x="5800234" y="23831"/>
              <a:ext cx="514432" cy="376973"/>
            </a:xfrm>
            <a:custGeom>
              <a:avLst/>
              <a:gdLst>
                <a:gd name="T0" fmla="*/ 51 w 138"/>
                <a:gd name="T1" fmla="*/ 89 h 101"/>
                <a:gd name="T2" fmla="*/ 12 w 138"/>
                <a:gd name="T3" fmla="*/ 28 h 101"/>
                <a:gd name="T4" fmla="*/ 90 w 138"/>
                <a:gd name="T5" fmla="*/ 12 h 101"/>
                <a:gd name="T6" fmla="*/ 128 w 138"/>
                <a:gd name="T7" fmla="*/ 72 h 101"/>
                <a:gd name="T8" fmla="*/ 51 w 138"/>
                <a:gd name="T9" fmla="*/ 8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01">
                  <a:moveTo>
                    <a:pt x="51" y="89"/>
                  </a:moveTo>
                  <a:cubicBezTo>
                    <a:pt x="18" y="77"/>
                    <a:pt x="0" y="49"/>
                    <a:pt x="12" y="28"/>
                  </a:cubicBezTo>
                  <a:cubicBezTo>
                    <a:pt x="23" y="6"/>
                    <a:pt x="58" y="0"/>
                    <a:pt x="90" y="12"/>
                  </a:cubicBezTo>
                  <a:cubicBezTo>
                    <a:pt x="121" y="24"/>
                    <a:pt x="138" y="51"/>
                    <a:pt x="128" y="72"/>
                  </a:cubicBezTo>
                  <a:cubicBezTo>
                    <a:pt x="118" y="93"/>
                    <a:pt x="83" y="101"/>
                    <a:pt x="51" y="89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84"/>
            <p:cNvSpPr>
              <a:spLocks/>
            </p:cNvSpPr>
            <p:nvPr userDrawn="1"/>
          </p:nvSpPr>
          <p:spPr bwMode="auto">
            <a:xfrm>
              <a:off x="6327161" y="706963"/>
              <a:ext cx="397800" cy="322822"/>
            </a:xfrm>
            <a:custGeom>
              <a:avLst/>
              <a:gdLst>
                <a:gd name="T0" fmla="*/ 60 w 107"/>
                <a:gd name="T1" fmla="*/ 5 h 87"/>
                <a:gd name="T2" fmla="*/ 104 w 107"/>
                <a:gd name="T3" fmla="*/ 53 h 87"/>
                <a:gd name="T4" fmla="*/ 48 w 107"/>
                <a:gd name="T5" fmla="*/ 82 h 87"/>
                <a:gd name="T6" fmla="*/ 4 w 107"/>
                <a:gd name="T7" fmla="*/ 33 h 87"/>
                <a:gd name="T8" fmla="*/ 60 w 107"/>
                <a:gd name="T9" fmla="*/ 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87">
                  <a:moveTo>
                    <a:pt x="60" y="5"/>
                  </a:moveTo>
                  <a:cubicBezTo>
                    <a:pt x="87" y="11"/>
                    <a:pt x="107" y="33"/>
                    <a:pt x="104" y="53"/>
                  </a:cubicBezTo>
                  <a:cubicBezTo>
                    <a:pt x="101" y="74"/>
                    <a:pt x="76" y="87"/>
                    <a:pt x="48" y="82"/>
                  </a:cubicBezTo>
                  <a:cubicBezTo>
                    <a:pt x="20" y="77"/>
                    <a:pt x="0" y="54"/>
                    <a:pt x="4" y="33"/>
                  </a:cubicBezTo>
                  <a:cubicBezTo>
                    <a:pt x="8" y="12"/>
                    <a:pt x="33" y="0"/>
                    <a:pt x="60" y="5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85"/>
            <p:cNvSpPr>
              <a:spLocks/>
            </p:cNvSpPr>
            <p:nvPr userDrawn="1"/>
          </p:nvSpPr>
          <p:spPr bwMode="auto">
            <a:xfrm>
              <a:off x="6304252" y="1204732"/>
              <a:ext cx="401965" cy="320739"/>
            </a:xfrm>
            <a:custGeom>
              <a:avLst/>
              <a:gdLst>
                <a:gd name="T0" fmla="*/ 52 w 108"/>
                <a:gd name="T1" fmla="*/ 1 h 86"/>
                <a:gd name="T2" fmla="*/ 106 w 108"/>
                <a:gd name="T3" fmla="*/ 44 h 86"/>
                <a:gd name="T4" fmla="*/ 57 w 108"/>
                <a:gd name="T5" fmla="*/ 86 h 86"/>
                <a:gd name="T6" fmla="*/ 1 w 108"/>
                <a:gd name="T7" fmla="*/ 42 h 86"/>
                <a:gd name="T8" fmla="*/ 52 w 108"/>
                <a:gd name="T9" fmla="*/ 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86">
                  <a:moveTo>
                    <a:pt x="52" y="1"/>
                  </a:moveTo>
                  <a:cubicBezTo>
                    <a:pt x="80" y="2"/>
                    <a:pt x="104" y="21"/>
                    <a:pt x="106" y="44"/>
                  </a:cubicBezTo>
                  <a:cubicBezTo>
                    <a:pt x="108" y="67"/>
                    <a:pt x="86" y="86"/>
                    <a:pt x="57" y="86"/>
                  </a:cubicBezTo>
                  <a:cubicBezTo>
                    <a:pt x="28" y="86"/>
                    <a:pt x="2" y="66"/>
                    <a:pt x="1" y="42"/>
                  </a:cubicBezTo>
                  <a:cubicBezTo>
                    <a:pt x="0" y="18"/>
                    <a:pt x="23" y="0"/>
                    <a:pt x="52" y="1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86"/>
            <p:cNvSpPr>
              <a:spLocks/>
            </p:cNvSpPr>
            <p:nvPr userDrawn="1"/>
          </p:nvSpPr>
          <p:spPr bwMode="auto">
            <a:xfrm>
              <a:off x="6375064" y="1719165"/>
              <a:ext cx="439454" cy="372807"/>
            </a:xfrm>
            <a:custGeom>
              <a:avLst/>
              <a:gdLst>
                <a:gd name="T0" fmla="*/ 48 w 118"/>
                <a:gd name="T1" fmla="*/ 5 h 100"/>
                <a:gd name="T2" fmla="*/ 112 w 118"/>
                <a:gd name="T3" fmla="*/ 40 h 100"/>
                <a:gd name="T4" fmla="*/ 73 w 118"/>
                <a:gd name="T5" fmla="*/ 94 h 100"/>
                <a:gd name="T6" fmla="*/ 7 w 118"/>
                <a:gd name="T7" fmla="*/ 59 h 100"/>
                <a:gd name="T8" fmla="*/ 48 w 118"/>
                <a:gd name="T9" fmla="*/ 5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100">
                  <a:moveTo>
                    <a:pt x="48" y="5"/>
                  </a:moveTo>
                  <a:cubicBezTo>
                    <a:pt x="76" y="0"/>
                    <a:pt x="105" y="16"/>
                    <a:pt x="112" y="40"/>
                  </a:cubicBezTo>
                  <a:cubicBezTo>
                    <a:pt x="118" y="64"/>
                    <a:pt x="101" y="88"/>
                    <a:pt x="73" y="94"/>
                  </a:cubicBezTo>
                  <a:cubicBezTo>
                    <a:pt x="43" y="100"/>
                    <a:pt x="14" y="84"/>
                    <a:pt x="7" y="59"/>
                  </a:cubicBezTo>
                  <a:cubicBezTo>
                    <a:pt x="0" y="34"/>
                    <a:pt x="19" y="10"/>
                    <a:pt x="48" y="5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87"/>
            <p:cNvSpPr>
              <a:spLocks/>
            </p:cNvSpPr>
            <p:nvPr userDrawn="1"/>
          </p:nvSpPr>
          <p:spPr bwMode="auto">
            <a:xfrm>
              <a:off x="6577087" y="2244010"/>
              <a:ext cx="458198" cy="414462"/>
            </a:xfrm>
            <a:custGeom>
              <a:avLst/>
              <a:gdLst>
                <a:gd name="T0" fmla="*/ 41 w 123"/>
                <a:gd name="T1" fmla="*/ 11 h 111"/>
                <a:gd name="T2" fmla="*/ 111 w 123"/>
                <a:gd name="T3" fmla="*/ 35 h 111"/>
                <a:gd name="T4" fmla="*/ 85 w 123"/>
                <a:gd name="T5" fmla="*/ 99 h 111"/>
                <a:gd name="T6" fmla="*/ 12 w 123"/>
                <a:gd name="T7" fmla="*/ 76 h 111"/>
                <a:gd name="T8" fmla="*/ 41 w 123"/>
                <a:gd name="T9" fmla="*/ 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111">
                  <a:moveTo>
                    <a:pt x="41" y="11"/>
                  </a:moveTo>
                  <a:cubicBezTo>
                    <a:pt x="68" y="0"/>
                    <a:pt x="99" y="11"/>
                    <a:pt x="111" y="35"/>
                  </a:cubicBezTo>
                  <a:cubicBezTo>
                    <a:pt x="123" y="58"/>
                    <a:pt x="112" y="87"/>
                    <a:pt x="85" y="99"/>
                  </a:cubicBezTo>
                  <a:cubicBezTo>
                    <a:pt x="58" y="111"/>
                    <a:pt x="25" y="101"/>
                    <a:pt x="12" y="76"/>
                  </a:cubicBezTo>
                  <a:cubicBezTo>
                    <a:pt x="0" y="51"/>
                    <a:pt x="13" y="22"/>
                    <a:pt x="41" y="11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88"/>
            <p:cNvSpPr>
              <a:spLocks/>
            </p:cNvSpPr>
            <p:nvPr userDrawn="1"/>
          </p:nvSpPr>
          <p:spPr bwMode="auto">
            <a:xfrm>
              <a:off x="6904075" y="2754275"/>
              <a:ext cx="449867" cy="433206"/>
            </a:xfrm>
            <a:custGeom>
              <a:avLst/>
              <a:gdLst>
                <a:gd name="T0" fmla="*/ 31 w 121"/>
                <a:gd name="T1" fmla="*/ 17 h 116"/>
                <a:gd name="T2" fmla="*/ 104 w 121"/>
                <a:gd name="T3" fmla="*/ 27 h 116"/>
                <a:gd name="T4" fmla="*/ 92 w 121"/>
                <a:gd name="T5" fmla="*/ 98 h 116"/>
                <a:gd name="T6" fmla="*/ 18 w 121"/>
                <a:gd name="T7" fmla="*/ 89 h 116"/>
                <a:gd name="T8" fmla="*/ 31 w 121"/>
                <a:gd name="T9" fmla="*/ 1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116">
                  <a:moveTo>
                    <a:pt x="31" y="17"/>
                  </a:moveTo>
                  <a:cubicBezTo>
                    <a:pt x="55" y="0"/>
                    <a:pt x="87" y="5"/>
                    <a:pt x="104" y="27"/>
                  </a:cubicBezTo>
                  <a:cubicBezTo>
                    <a:pt x="121" y="48"/>
                    <a:pt x="116" y="80"/>
                    <a:pt x="92" y="98"/>
                  </a:cubicBezTo>
                  <a:cubicBezTo>
                    <a:pt x="69" y="116"/>
                    <a:pt x="35" y="112"/>
                    <a:pt x="18" y="89"/>
                  </a:cubicBezTo>
                  <a:cubicBezTo>
                    <a:pt x="0" y="67"/>
                    <a:pt x="7" y="34"/>
                    <a:pt x="31" y="17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89"/>
            <p:cNvSpPr>
              <a:spLocks/>
            </p:cNvSpPr>
            <p:nvPr userDrawn="1"/>
          </p:nvSpPr>
          <p:spPr bwMode="auto">
            <a:xfrm>
              <a:off x="7339362" y="3210392"/>
              <a:ext cx="418627" cy="439454"/>
            </a:xfrm>
            <a:custGeom>
              <a:avLst/>
              <a:gdLst>
                <a:gd name="T0" fmla="*/ 20 w 112"/>
                <a:gd name="T1" fmla="*/ 24 h 118"/>
                <a:gd name="T2" fmla="*/ 91 w 112"/>
                <a:gd name="T3" fmla="*/ 18 h 118"/>
                <a:gd name="T4" fmla="*/ 94 w 112"/>
                <a:gd name="T5" fmla="*/ 91 h 118"/>
                <a:gd name="T6" fmla="*/ 22 w 112"/>
                <a:gd name="T7" fmla="*/ 99 h 118"/>
                <a:gd name="T8" fmla="*/ 20 w 112"/>
                <a:gd name="T9" fmla="*/ 2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118">
                  <a:moveTo>
                    <a:pt x="20" y="24"/>
                  </a:moveTo>
                  <a:cubicBezTo>
                    <a:pt x="39" y="2"/>
                    <a:pt x="71" y="0"/>
                    <a:pt x="91" y="18"/>
                  </a:cubicBezTo>
                  <a:cubicBezTo>
                    <a:pt x="111" y="36"/>
                    <a:pt x="112" y="68"/>
                    <a:pt x="94" y="91"/>
                  </a:cubicBezTo>
                  <a:cubicBezTo>
                    <a:pt x="75" y="114"/>
                    <a:pt x="42" y="118"/>
                    <a:pt x="22" y="99"/>
                  </a:cubicBezTo>
                  <a:cubicBezTo>
                    <a:pt x="0" y="80"/>
                    <a:pt x="0" y="46"/>
                    <a:pt x="20" y="24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90"/>
            <p:cNvSpPr>
              <a:spLocks/>
            </p:cNvSpPr>
            <p:nvPr userDrawn="1"/>
          </p:nvSpPr>
          <p:spPr bwMode="auto">
            <a:xfrm>
              <a:off x="7828802" y="3564454"/>
              <a:ext cx="401965" cy="449867"/>
            </a:xfrm>
            <a:custGeom>
              <a:avLst/>
              <a:gdLst>
                <a:gd name="T0" fmla="*/ 14 w 108"/>
                <a:gd name="T1" fmla="*/ 34 h 121"/>
                <a:gd name="T2" fmla="*/ 79 w 108"/>
                <a:gd name="T3" fmla="*/ 13 h 121"/>
                <a:gd name="T4" fmla="*/ 96 w 108"/>
                <a:gd name="T5" fmla="*/ 84 h 121"/>
                <a:gd name="T6" fmla="*/ 30 w 108"/>
                <a:gd name="T7" fmla="*/ 107 h 121"/>
                <a:gd name="T8" fmla="*/ 14 w 108"/>
                <a:gd name="T9" fmla="*/ 34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21">
                  <a:moveTo>
                    <a:pt x="14" y="34"/>
                  </a:moveTo>
                  <a:cubicBezTo>
                    <a:pt x="28" y="9"/>
                    <a:pt x="57" y="0"/>
                    <a:pt x="79" y="13"/>
                  </a:cubicBezTo>
                  <a:cubicBezTo>
                    <a:pt x="101" y="27"/>
                    <a:pt x="108" y="58"/>
                    <a:pt x="96" y="84"/>
                  </a:cubicBezTo>
                  <a:cubicBezTo>
                    <a:pt x="83" y="111"/>
                    <a:pt x="53" y="121"/>
                    <a:pt x="30" y="107"/>
                  </a:cubicBezTo>
                  <a:cubicBezTo>
                    <a:pt x="7" y="94"/>
                    <a:pt x="0" y="60"/>
                    <a:pt x="14" y="34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91"/>
            <p:cNvSpPr>
              <a:spLocks/>
            </p:cNvSpPr>
            <p:nvPr userDrawn="1"/>
          </p:nvSpPr>
          <p:spPr bwMode="auto">
            <a:xfrm>
              <a:off x="8357813" y="3816462"/>
              <a:ext cx="368642" cy="437371"/>
            </a:xfrm>
            <a:custGeom>
              <a:avLst/>
              <a:gdLst>
                <a:gd name="T0" fmla="*/ 8 w 99"/>
                <a:gd name="T1" fmla="*/ 42 h 117"/>
                <a:gd name="T2" fmla="*/ 64 w 99"/>
                <a:gd name="T3" fmla="*/ 8 h 117"/>
                <a:gd name="T4" fmla="*/ 92 w 99"/>
                <a:gd name="T5" fmla="*/ 73 h 117"/>
                <a:gd name="T6" fmla="*/ 36 w 99"/>
                <a:gd name="T7" fmla="*/ 109 h 117"/>
                <a:gd name="T8" fmla="*/ 8 w 99"/>
                <a:gd name="T9" fmla="*/ 4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117">
                  <a:moveTo>
                    <a:pt x="8" y="42"/>
                  </a:moveTo>
                  <a:cubicBezTo>
                    <a:pt x="16" y="14"/>
                    <a:pt x="41" y="0"/>
                    <a:pt x="64" y="8"/>
                  </a:cubicBezTo>
                  <a:cubicBezTo>
                    <a:pt x="86" y="17"/>
                    <a:pt x="99" y="45"/>
                    <a:pt x="92" y="73"/>
                  </a:cubicBezTo>
                  <a:cubicBezTo>
                    <a:pt x="84" y="101"/>
                    <a:pt x="60" y="117"/>
                    <a:pt x="36" y="109"/>
                  </a:cubicBezTo>
                  <a:cubicBezTo>
                    <a:pt x="12" y="101"/>
                    <a:pt x="0" y="71"/>
                    <a:pt x="8" y="42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92"/>
            <p:cNvSpPr>
              <a:spLocks/>
            </p:cNvSpPr>
            <p:nvPr userDrawn="1"/>
          </p:nvSpPr>
          <p:spPr bwMode="auto">
            <a:xfrm>
              <a:off x="8890989" y="3958087"/>
              <a:ext cx="316573" cy="406131"/>
            </a:xfrm>
            <a:custGeom>
              <a:avLst/>
              <a:gdLst>
                <a:gd name="T0" fmla="*/ 2 w 85"/>
                <a:gd name="T1" fmla="*/ 48 h 109"/>
                <a:gd name="T2" fmla="*/ 47 w 85"/>
                <a:gd name="T3" fmla="*/ 4 h 109"/>
                <a:gd name="T4" fmla="*/ 83 w 85"/>
                <a:gd name="T5" fmla="*/ 59 h 109"/>
                <a:gd name="T6" fmla="*/ 39 w 85"/>
                <a:gd name="T7" fmla="*/ 106 h 109"/>
                <a:gd name="T8" fmla="*/ 2 w 85"/>
                <a:gd name="T9" fmla="*/ 4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09">
                  <a:moveTo>
                    <a:pt x="2" y="48"/>
                  </a:moveTo>
                  <a:cubicBezTo>
                    <a:pt x="5" y="20"/>
                    <a:pt x="25" y="0"/>
                    <a:pt x="47" y="4"/>
                  </a:cubicBezTo>
                  <a:cubicBezTo>
                    <a:pt x="69" y="7"/>
                    <a:pt x="85" y="32"/>
                    <a:pt x="83" y="59"/>
                  </a:cubicBezTo>
                  <a:cubicBezTo>
                    <a:pt x="81" y="88"/>
                    <a:pt x="62" y="109"/>
                    <a:pt x="39" y="106"/>
                  </a:cubicBezTo>
                  <a:cubicBezTo>
                    <a:pt x="16" y="103"/>
                    <a:pt x="0" y="77"/>
                    <a:pt x="2" y="48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Freeform 93"/>
            <p:cNvSpPr>
              <a:spLocks/>
            </p:cNvSpPr>
            <p:nvPr userDrawn="1"/>
          </p:nvSpPr>
          <p:spPr bwMode="auto">
            <a:xfrm>
              <a:off x="9378345" y="3989328"/>
              <a:ext cx="289499" cy="374889"/>
            </a:xfrm>
            <a:custGeom>
              <a:avLst/>
              <a:gdLst>
                <a:gd name="T0" fmla="*/ 2 w 78"/>
                <a:gd name="T1" fmla="*/ 53 h 101"/>
                <a:gd name="T2" fmla="*/ 34 w 78"/>
                <a:gd name="T3" fmla="*/ 1 h 101"/>
                <a:gd name="T4" fmla="*/ 75 w 78"/>
                <a:gd name="T5" fmla="*/ 46 h 101"/>
                <a:gd name="T6" fmla="*/ 44 w 78"/>
                <a:gd name="T7" fmla="*/ 99 h 101"/>
                <a:gd name="T8" fmla="*/ 2 w 78"/>
                <a:gd name="T9" fmla="*/ 5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101">
                  <a:moveTo>
                    <a:pt x="2" y="53"/>
                  </a:moveTo>
                  <a:cubicBezTo>
                    <a:pt x="0" y="25"/>
                    <a:pt x="14" y="3"/>
                    <a:pt x="34" y="1"/>
                  </a:cubicBezTo>
                  <a:cubicBezTo>
                    <a:pt x="54" y="0"/>
                    <a:pt x="73" y="20"/>
                    <a:pt x="75" y="46"/>
                  </a:cubicBezTo>
                  <a:cubicBezTo>
                    <a:pt x="78" y="73"/>
                    <a:pt x="64" y="97"/>
                    <a:pt x="44" y="99"/>
                  </a:cubicBezTo>
                  <a:cubicBezTo>
                    <a:pt x="23" y="101"/>
                    <a:pt x="4" y="80"/>
                    <a:pt x="2" y="53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94"/>
            <p:cNvSpPr>
              <a:spLocks/>
            </p:cNvSpPr>
            <p:nvPr userDrawn="1"/>
          </p:nvSpPr>
          <p:spPr bwMode="auto">
            <a:xfrm>
              <a:off x="9799054" y="3899771"/>
              <a:ext cx="287415" cy="379055"/>
            </a:xfrm>
            <a:custGeom>
              <a:avLst/>
              <a:gdLst>
                <a:gd name="T0" fmla="*/ 7 w 77"/>
                <a:gd name="T1" fmla="*/ 61 h 102"/>
                <a:gd name="T2" fmla="*/ 28 w 77"/>
                <a:gd name="T3" fmla="*/ 5 h 102"/>
                <a:gd name="T4" fmla="*/ 70 w 77"/>
                <a:gd name="T5" fmla="*/ 39 h 102"/>
                <a:gd name="T6" fmla="*/ 51 w 77"/>
                <a:gd name="T7" fmla="*/ 95 h 102"/>
                <a:gd name="T8" fmla="*/ 7 w 77"/>
                <a:gd name="T9" fmla="*/ 6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102">
                  <a:moveTo>
                    <a:pt x="7" y="61"/>
                  </a:moveTo>
                  <a:cubicBezTo>
                    <a:pt x="0" y="36"/>
                    <a:pt x="10" y="11"/>
                    <a:pt x="28" y="5"/>
                  </a:cubicBezTo>
                  <a:cubicBezTo>
                    <a:pt x="45" y="0"/>
                    <a:pt x="64" y="15"/>
                    <a:pt x="70" y="39"/>
                  </a:cubicBezTo>
                  <a:cubicBezTo>
                    <a:pt x="77" y="64"/>
                    <a:pt x="68" y="89"/>
                    <a:pt x="51" y="95"/>
                  </a:cubicBezTo>
                  <a:cubicBezTo>
                    <a:pt x="33" y="102"/>
                    <a:pt x="13" y="86"/>
                    <a:pt x="7" y="61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95"/>
            <p:cNvSpPr>
              <a:spLocks/>
            </p:cNvSpPr>
            <p:nvPr userDrawn="1"/>
          </p:nvSpPr>
          <p:spPr bwMode="auto">
            <a:xfrm>
              <a:off x="10163529" y="3735237"/>
              <a:ext cx="264506" cy="364476"/>
            </a:xfrm>
            <a:custGeom>
              <a:avLst/>
              <a:gdLst>
                <a:gd name="T0" fmla="*/ 10 w 71"/>
                <a:gd name="T1" fmla="*/ 65 h 98"/>
                <a:gd name="T2" fmla="*/ 20 w 71"/>
                <a:gd name="T3" fmla="*/ 9 h 98"/>
                <a:gd name="T4" fmla="*/ 62 w 71"/>
                <a:gd name="T5" fmla="*/ 32 h 98"/>
                <a:gd name="T6" fmla="*/ 53 w 71"/>
                <a:gd name="T7" fmla="*/ 89 h 98"/>
                <a:gd name="T8" fmla="*/ 10 w 71"/>
                <a:gd name="T9" fmla="*/ 6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98">
                  <a:moveTo>
                    <a:pt x="10" y="65"/>
                  </a:moveTo>
                  <a:cubicBezTo>
                    <a:pt x="0" y="43"/>
                    <a:pt x="5" y="17"/>
                    <a:pt x="20" y="9"/>
                  </a:cubicBezTo>
                  <a:cubicBezTo>
                    <a:pt x="34" y="0"/>
                    <a:pt x="53" y="10"/>
                    <a:pt x="62" y="32"/>
                  </a:cubicBezTo>
                  <a:cubicBezTo>
                    <a:pt x="71" y="54"/>
                    <a:pt x="67" y="79"/>
                    <a:pt x="53" y="89"/>
                  </a:cubicBezTo>
                  <a:cubicBezTo>
                    <a:pt x="39" y="98"/>
                    <a:pt x="19" y="88"/>
                    <a:pt x="10" y="65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96"/>
            <p:cNvSpPr>
              <a:spLocks/>
            </p:cNvSpPr>
            <p:nvPr userDrawn="1"/>
          </p:nvSpPr>
          <p:spPr bwMode="auto">
            <a:xfrm>
              <a:off x="7947516" y="-675962"/>
              <a:ext cx="272837" cy="208272"/>
            </a:xfrm>
            <a:custGeom>
              <a:avLst/>
              <a:gdLst>
                <a:gd name="T0" fmla="*/ 9 w 73"/>
                <a:gd name="T1" fmla="*/ 30 h 56"/>
                <a:gd name="T2" fmla="*/ 21 w 73"/>
                <a:gd name="T3" fmla="*/ 1 h 56"/>
                <a:gd name="T4" fmla="*/ 64 w 73"/>
                <a:gd name="T5" fmla="*/ 26 h 56"/>
                <a:gd name="T6" fmla="*/ 52 w 73"/>
                <a:gd name="T7" fmla="*/ 54 h 56"/>
                <a:gd name="T8" fmla="*/ 9 w 73"/>
                <a:gd name="T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56">
                  <a:moveTo>
                    <a:pt x="9" y="30"/>
                  </a:moveTo>
                  <a:cubicBezTo>
                    <a:pt x="0" y="15"/>
                    <a:pt x="6" y="2"/>
                    <a:pt x="21" y="1"/>
                  </a:cubicBezTo>
                  <a:cubicBezTo>
                    <a:pt x="36" y="0"/>
                    <a:pt x="55" y="11"/>
                    <a:pt x="64" y="26"/>
                  </a:cubicBezTo>
                  <a:cubicBezTo>
                    <a:pt x="73" y="40"/>
                    <a:pt x="68" y="53"/>
                    <a:pt x="52" y="54"/>
                  </a:cubicBezTo>
                  <a:cubicBezTo>
                    <a:pt x="37" y="56"/>
                    <a:pt x="17" y="45"/>
                    <a:pt x="9" y="30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97"/>
            <p:cNvSpPr>
              <a:spLocks/>
            </p:cNvSpPr>
            <p:nvPr userDrawn="1"/>
          </p:nvSpPr>
          <p:spPr bwMode="auto">
            <a:xfrm>
              <a:off x="7597620" y="-634308"/>
              <a:ext cx="289499" cy="233265"/>
            </a:xfrm>
            <a:custGeom>
              <a:avLst/>
              <a:gdLst>
                <a:gd name="T0" fmla="*/ 12 w 78"/>
                <a:gd name="T1" fmla="*/ 38 h 63"/>
                <a:gd name="T2" fmla="*/ 19 w 78"/>
                <a:gd name="T3" fmla="*/ 4 h 63"/>
                <a:gd name="T4" fmla="*/ 67 w 78"/>
                <a:gd name="T5" fmla="*/ 24 h 63"/>
                <a:gd name="T6" fmla="*/ 61 w 78"/>
                <a:gd name="T7" fmla="*/ 59 h 63"/>
                <a:gd name="T8" fmla="*/ 12 w 78"/>
                <a:gd name="T9" fmla="*/ 3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3">
                  <a:moveTo>
                    <a:pt x="12" y="38"/>
                  </a:moveTo>
                  <a:cubicBezTo>
                    <a:pt x="0" y="23"/>
                    <a:pt x="3" y="8"/>
                    <a:pt x="19" y="4"/>
                  </a:cubicBezTo>
                  <a:cubicBezTo>
                    <a:pt x="34" y="0"/>
                    <a:pt x="55" y="9"/>
                    <a:pt x="67" y="24"/>
                  </a:cubicBezTo>
                  <a:cubicBezTo>
                    <a:pt x="78" y="39"/>
                    <a:pt x="76" y="54"/>
                    <a:pt x="61" y="59"/>
                  </a:cubicBezTo>
                  <a:cubicBezTo>
                    <a:pt x="46" y="63"/>
                    <a:pt x="24" y="54"/>
                    <a:pt x="12" y="38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98"/>
            <p:cNvSpPr>
              <a:spLocks/>
            </p:cNvSpPr>
            <p:nvPr userDrawn="1"/>
          </p:nvSpPr>
          <p:spPr bwMode="auto">
            <a:xfrm>
              <a:off x="7262302" y="-523924"/>
              <a:ext cx="308242" cy="254092"/>
            </a:xfrm>
            <a:custGeom>
              <a:avLst/>
              <a:gdLst>
                <a:gd name="T0" fmla="*/ 16 w 83"/>
                <a:gd name="T1" fmla="*/ 47 h 68"/>
                <a:gd name="T2" fmla="*/ 15 w 83"/>
                <a:gd name="T3" fmla="*/ 7 h 68"/>
                <a:gd name="T4" fmla="*/ 68 w 83"/>
                <a:gd name="T5" fmla="*/ 21 h 68"/>
                <a:gd name="T6" fmla="*/ 69 w 83"/>
                <a:gd name="T7" fmla="*/ 61 h 68"/>
                <a:gd name="T8" fmla="*/ 16 w 83"/>
                <a:gd name="T9" fmla="*/ 4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68">
                  <a:moveTo>
                    <a:pt x="16" y="47"/>
                  </a:moveTo>
                  <a:cubicBezTo>
                    <a:pt x="0" y="32"/>
                    <a:pt x="0" y="14"/>
                    <a:pt x="15" y="7"/>
                  </a:cubicBezTo>
                  <a:cubicBezTo>
                    <a:pt x="29" y="0"/>
                    <a:pt x="53" y="6"/>
                    <a:pt x="68" y="21"/>
                  </a:cubicBezTo>
                  <a:cubicBezTo>
                    <a:pt x="82" y="36"/>
                    <a:pt x="83" y="53"/>
                    <a:pt x="69" y="61"/>
                  </a:cubicBezTo>
                  <a:cubicBezTo>
                    <a:pt x="55" y="68"/>
                    <a:pt x="31" y="62"/>
                    <a:pt x="16" y="47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99"/>
            <p:cNvSpPr>
              <a:spLocks/>
            </p:cNvSpPr>
            <p:nvPr userDrawn="1"/>
          </p:nvSpPr>
          <p:spPr bwMode="auto">
            <a:xfrm>
              <a:off x="6941564" y="-332314"/>
              <a:ext cx="345731" cy="266588"/>
            </a:xfrm>
            <a:custGeom>
              <a:avLst/>
              <a:gdLst>
                <a:gd name="T0" fmla="*/ 23 w 93"/>
                <a:gd name="T1" fmla="*/ 55 h 72"/>
                <a:gd name="T2" fmla="*/ 13 w 93"/>
                <a:gd name="T3" fmla="*/ 10 h 72"/>
                <a:gd name="T4" fmla="*/ 70 w 93"/>
                <a:gd name="T5" fmla="*/ 17 h 72"/>
                <a:gd name="T6" fmla="*/ 80 w 93"/>
                <a:gd name="T7" fmla="*/ 61 h 72"/>
                <a:gd name="T8" fmla="*/ 23 w 93"/>
                <a:gd name="T9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72">
                  <a:moveTo>
                    <a:pt x="23" y="55"/>
                  </a:moveTo>
                  <a:cubicBezTo>
                    <a:pt x="4" y="41"/>
                    <a:pt x="0" y="20"/>
                    <a:pt x="13" y="10"/>
                  </a:cubicBezTo>
                  <a:cubicBezTo>
                    <a:pt x="26" y="0"/>
                    <a:pt x="51" y="3"/>
                    <a:pt x="70" y="17"/>
                  </a:cubicBezTo>
                  <a:cubicBezTo>
                    <a:pt x="88" y="30"/>
                    <a:pt x="93" y="50"/>
                    <a:pt x="80" y="61"/>
                  </a:cubicBezTo>
                  <a:cubicBezTo>
                    <a:pt x="68" y="72"/>
                    <a:pt x="42" y="69"/>
                    <a:pt x="23" y="55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100"/>
            <p:cNvSpPr>
              <a:spLocks/>
            </p:cNvSpPr>
            <p:nvPr userDrawn="1"/>
          </p:nvSpPr>
          <p:spPr bwMode="auto">
            <a:xfrm>
              <a:off x="6662479" y="-65726"/>
              <a:ext cx="374889" cy="283250"/>
            </a:xfrm>
            <a:custGeom>
              <a:avLst/>
              <a:gdLst>
                <a:gd name="T0" fmla="*/ 32 w 101"/>
                <a:gd name="T1" fmla="*/ 64 h 76"/>
                <a:gd name="T2" fmla="*/ 11 w 101"/>
                <a:gd name="T3" fmla="*/ 15 h 76"/>
                <a:gd name="T4" fmla="*/ 70 w 101"/>
                <a:gd name="T5" fmla="*/ 12 h 76"/>
                <a:gd name="T6" fmla="*/ 91 w 101"/>
                <a:gd name="T7" fmla="*/ 60 h 76"/>
                <a:gd name="T8" fmla="*/ 32 w 101"/>
                <a:gd name="T9" fmla="*/ 6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76">
                  <a:moveTo>
                    <a:pt x="32" y="64"/>
                  </a:moveTo>
                  <a:cubicBezTo>
                    <a:pt x="9" y="52"/>
                    <a:pt x="0" y="29"/>
                    <a:pt x="11" y="15"/>
                  </a:cubicBezTo>
                  <a:cubicBezTo>
                    <a:pt x="22" y="1"/>
                    <a:pt x="49" y="0"/>
                    <a:pt x="70" y="12"/>
                  </a:cubicBezTo>
                  <a:cubicBezTo>
                    <a:pt x="92" y="24"/>
                    <a:pt x="101" y="45"/>
                    <a:pt x="91" y="60"/>
                  </a:cubicBezTo>
                  <a:cubicBezTo>
                    <a:pt x="81" y="74"/>
                    <a:pt x="54" y="76"/>
                    <a:pt x="32" y="64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101"/>
            <p:cNvSpPr>
              <a:spLocks/>
            </p:cNvSpPr>
            <p:nvPr userDrawn="1"/>
          </p:nvSpPr>
          <p:spPr bwMode="auto">
            <a:xfrm>
              <a:off x="6450042" y="277923"/>
              <a:ext cx="393635" cy="312408"/>
            </a:xfrm>
            <a:custGeom>
              <a:avLst/>
              <a:gdLst>
                <a:gd name="T0" fmla="*/ 40 w 106"/>
                <a:gd name="T1" fmla="*/ 75 h 84"/>
                <a:gd name="T2" fmla="*/ 8 w 106"/>
                <a:gd name="T3" fmla="*/ 24 h 84"/>
                <a:gd name="T4" fmla="*/ 67 w 106"/>
                <a:gd name="T5" fmla="*/ 10 h 84"/>
                <a:gd name="T6" fmla="*/ 99 w 106"/>
                <a:gd name="T7" fmla="*/ 59 h 84"/>
                <a:gd name="T8" fmla="*/ 40 w 106"/>
                <a:gd name="T9" fmla="*/ 7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84">
                  <a:moveTo>
                    <a:pt x="40" y="75"/>
                  </a:moveTo>
                  <a:cubicBezTo>
                    <a:pt x="15" y="65"/>
                    <a:pt x="0" y="42"/>
                    <a:pt x="8" y="24"/>
                  </a:cubicBezTo>
                  <a:cubicBezTo>
                    <a:pt x="16" y="6"/>
                    <a:pt x="43" y="0"/>
                    <a:pt x="67" y="10"/>
                  </a:cubicBezTo>
                  <a:cubicBezTo>
                    <a:pt x="92" y="19"/>
                    <a:pt x="106" y="41"/>
                    <a:pt x="99" y="59"/>
                  </a:cubicBezTo>
                  <a:cubicBezTo>
                    <a:pt x="92" y="77"/>
                    <a:pt x="66" y="84"/>
                    <a:pt x="40" y="75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02"/>
            <p:cNvSpPr>
              <a:spLocks/>
            </p:cNvSpPr>
            <p:nvPr userDrawn="1"/>
          </p:nvSpPr>
          <p:spPr bwMode="auto">
            <a:xfrm>
              <a:off x="6876999" y="836092"/>
              <a:ext cx="306160" cy="268671"/>
            </a:xfrm>
            <a:custGeom>
              <a:avLst/>
              <a:gdLst>
                <a:gd name="T0" fmla="*/ 45 w 82"/>
                <a:gd name="T1" fmla="*/ 5 h 72"/>
                <a:gd name="T2" fmla="*/ 80 w 82"/>
                <a:gd name="T3" fmla="*/ 44 h 72"/>
                <a:gd name="T4" fmla="*/ 38 w 82"/>
                <a:gd name="T5" fmla="*/ 68 h 72"/>
                <a:gd name="T6" fmla="*/ 2 w 82"/>
                <a:gd name="T7" fmla="*/ 28 h 72"/>
                <a:gd name="T8" fmla="*/ 45 w 82"/>
                <a:gd name="T9" fmla="*/ 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72">
                  <a:moveTo>
                    <a:pt x="45" y="5"/>
                  </a:moveTo>
                  <a:cubicBezTo>
                    <a:pt x="66" y="9"/>
                    <a:pt x="82" y="26"/>
                    <a:pt x="80" y="44"/>
                  </a:cubicBezTo>
                  <a:cubicBezTo>
                    <a:pt x="79" y="61"/>
                    <a:pt x="60" y="72"/>
                    <a:pt x="38" y="68"/>
                  </a:cubicBezTo>
                  <a:cubicBezTo>
                    <a:pt x="16" y="63"/>
                    <a:pt x="0" y="45"/>
                    <a:pt x="2" y="28"/>
                  </a:cubicBezTo>
                  <a:cubicBezTo>
                    <a:pt x="5" y="10"/>
                    <a:pt x="24" y="0"/>
                    <a:pt x="45" y="5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03"/>
            <p:cNvSpPr>
              <a:spLocks/>
            </p:cNvSpPr>
            <p:nvPr userDrawn="1"/>
          </p:nvSpPr>
          <p:spPr bwMode="auto">
            <a:xfrm>
              <a:off x="6874917" y="1246387"/>
              <a:ext cx="316573" cy="260341"/>
            </a:xfrm>
            <a:custGeom>
              <a:avLst/>
              <a:gdLst>
                <a:gd name="T0" fmla="*/ 39 w 85"/>
                <a:gd name="T1" fmla="*/ 0 h 70"/>
                <a:gd name="T2" fmla="*/ 82 w 85"/>
                <a:gd name="T3" fmla="*/ 35 h 70"/>
                <a:gd name="T4" fmla="*/ 46 w 85"/>
                <a:gd name="T5" fmla="*/ 69 h 70"/>
                <a:gd name="T6" fmla="*/ 2 w 85"/>
                <a:gd name="T7" fmla="*/ 34 h 70"/>
                <a:gd name="T8" fmla="*/ 39 w 85"/>
                <a:gd name="T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70">
                  <a:moveTo>
                    <a:pt x="39" y="0"/>
                  </a:moveTo>
                  <a:cubicBezTo>
                    <a:pt x="61" y="1"/>
                    <a:pt x="80" y="17"/>
                    <a:pt x="82" y="35"/>
                  </a:cubicBezTo>
                  <a:cubicBezTo>
                    <a:pt x="85" y="54"/>
                    <a:pt x="69" y="70"/>
                    <a:pt x="46" y="69"/>
                  </a:cubicBezTo>
                  <a:cubicBezTo>
                    <a:pt x="24" y="69"/>
                    <a:pt x="3" y="53"/>
                    <a:pt x="2" y="34"/>
                  </a:cubicBezTo>
                  <a:cubicBezTo>
                    <a:pt x="0" y="15"/>
                    <a:pt x="17" y="0"/>
                    <a:pt x="39" y="0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104"/>
            <p:cNvSpPr>
              <a:spLocks/>
            </p:cNvSpPr>
            <p:nvPr userDrawn="1"/>
          </p:nvSpPr>
          <p:spPr bwMode="auto">
            <a:xfrm>
              <a:off x="6947811" y="1662931"/>
              <a:ext cx="339484" cy="295746"/>
            </a:xfrm>
            <a:custGeom>
              <a:avLst/>
              <a:gdLst>
                <a:gd name="T0" fmla="*/ 35 w 91"/>
                <a:gd name="T1" fmla="*/ 3 h 79"/>
                <a:gd name="T2" fmla="*/ 85 w 91"/>
                <a:gd name="T3" fmla="*/ 32 h 79"/>
                <a:gd name="T4" fmla="*/ 57 w 91"/>
                <a:gd name="T5" fmla="*/ 75 h 79"/>
                <a:gd name="T6" fmla="*/ 6 w 91"/>
                <a:gd name="T7" fmla="*/ 46 h 79"/>
                <a:gd name="T8" fmla="*/ 35 w 91"/>
                <a:gd name="T9" fmla="*/ 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79">
                  <a:moveTo>
                    <a:pt x="35" y="3"/>
                  </a:moveTo>
                  <a:cubicBezTo>
                    <a:pt x="57" y="0"/>
                    <a:pt x="79" y="12"/>
                    <a:pt x="85" y="32"/>
                  </a:cubicBezTo>
                  <a:cubicBezTo>
                    <a:pt x="91" y="51"/>
                    <a:pt x="79" y="70"/>
                    <a:pt x="57" y="75"/>
                  </a:cubicBezTo>
                  <a:cubicBezTo>
                    <a:pt x="35" y="79"/>
                    <a:pt x="12" y="66"/>
                    <a:pt x="6" y="46"/>
                  </a:cubicBezTo>
                  <a:cubicBezTo>
                    <a:pt x="0" y="26"/>
                    <a:pt x="13" y="7"/>
                    <a:pt x="35" y="3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105"/>
            <p:cNvSpPr>
              <a:spLocks/>
            </p:cNvSpPr>
            <p:nvPr userDrawn="1"/>
          </p:nvSpPr>
          <p:spPr bwMode="auto">
            <a:xfrm>
              <a:off x="7120678" y="2083640"/>
              <a:ext cx="349897" cy="324904"/>
            </a:xfrm>
            <a:custGeom>
              <a:avLst/>
              <a:gdLst>
                <a:gd name="T0" fmla="*/ 30 w 94"/>
                <a:gd name="T1" fmla="*/ 8 h 87"/>
                <a:gd name="T2" fmla="*/ 85 w 94"/>
                <a:gd name="T3" fmla="*/ 27 h 87"/>
                <a:gd name="T4" fmla="*/ 66 w 94"/>
                <a:gd name="T5" fmla="*/ 78 h 87"/>
                <a:gd name="T6" fmla="*/ 10 w 94"/>
                <a:gd name="T7" fmla="*/ 59 h 87"/>
                <a:gd name="T8" fmla="*/ 30 w 94"/>
                <a:gd name="T9" fmla="*/ 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87">
                  <a:moveTo>
                    <a:pt x="30" y="8"/>
                  </a:moveTo>
                  <a:cubicBezTo>
                    <a:pt x="50" y="0"/>
                    <a:pt x="75" y="8"/>
                    <a:pt x="85" y="27"/>
                  </a:cubicBezTo>
                  <a:cubicBezTo>
                    <a:pt x="94" y="46"/>
                    <a:pt x="86" y="69"/>
                    <a:pt x="66" y="78"/>
                  </a:cubicBezTo>
                  <a:cubicBezTo>
                    <a:pt x="46" y="87"/>
                    <a:pt x="20" y="78"/>
                    <a:pt x="10" y="59"/>
                  </a:cubicBezTo>
                  <a:cubicBezTo>
                    <a:pt x="0" y="39"/>
                    <a:pt x="9" y="16"/>
                    <a:pt x="30" y="8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106"/>
            <p:cNvSpPr>
              <a:spLocks/>
            </p:cNvSpPr>
            <p:nvPr userDrawn="1"/>
          </p:nvSpPr>
          <p:spPr bwMode="auto">
            <a:xfrm>
              <a:off x="7389348" y="2489771"/>
              <a:ext cx="341566" cy="335318"/>
            </a:xfrm>
            <a:custGeom>
              <a:avLst/>
              <a:gdLst>
                <a:gd name="T0" fmla="*/ 22 w 92"/>
                <a:gd name="T1" fmla="*/ 13 h 90"/>
                <a:gd name="T2" fmla="*/ 78 w 92"/>
                <a:gd name="T3" fmla="*/ 21 h 90"/>
                <a:gd name="T4" fmla="*/ 71 w 92"/>
                <a:gd name="T5" fmla="*/ 77 h 90"/>
                <a:gd name="T6" fmla="*/ 13 w 92"/>
                <a:gd name="T7" fmla="*/ 69 h 90"/>
                <a:gd name="T8" fmla="*/ 22 w 92"/>
                <a:gd name="T9" fmla="*/ 13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90">
                  <a:moveTo>
                    <a:pt x="22" y="13"/>
                  </a:moveTo>
                  <a:cubicBezTo>
                    <a:pt x="40" y="0"/>
                    <a:pt x="65" y="4"/>
                    <a:pt x="78" y="21"/>
                  </a:cubicBezTo>
                  <a:cubicBezTo>
                    <a:pt x="92" y="39"/>
                    <a:pt x="88" y="63"/>
                    <a:pt x="71" y="77"/>
                  </a:cubicBezTo>
                  <a:cubicBezTo>
                    <a:pt x="53" y="90"/>
                    <a:pt x="27" y="87"/>
                    <a:pt x="13" y="69"/>
                  </a:cubicBezTo>
                  <a:cubicBezTo>
                    <a:pt x="0" y="51"/>
                    <a:pt x="4" y="25"/>
                    <a:pt x="22" y="13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107"/>
            <p:cNvSpPr>
              <a:spLocks/>
            </p:cNvSpPr>
            <p:nvPr userDrawn="1"/>
          </p:nvSpPr>
          <p:spPr bwMode="auto">
            <a:xfrm>
              <a:off x="7726748" y="2856329"/>
              <a:ext cx="329070" cy="339484"/>
            </a:xfrm>
            <a:custGeom>
              <a:avLst/>
              <a:gdLst>
                <a:gd name="T0" fmla="*/ 15 w 88"/>
                <a:gd name="T1" fmla="*/ 17 h 91"/>
                <a:gd name="T2" fmla="*/ 70 w 88"/>
                <a:gd name="T3" fmla="*/ 15 h 91"/>
                <a:gd name="T4" fmla="*/ 74 w 88"/>
                <a:gd name="T5" fmla="*/ 72 h 91"/>
                <a:gd name="T6" fmla="*/ 18 w 88"/>
                <a:gd name="T7" fmla="*/ 76 h 91"/>
                <a:gd name="T8" fmla="*/ 15 w 88"/>
                <a:gd name="T9" fmla="*/ 1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91">
                  <a:moveTo>
                    <a:pt x="15" y="17"/>
                  </a:moveTo>
                  <a:cubicBezTo>
                    <a:pt x="30" y="1"/>
                    <a:pt x="54" y="0"/>
                    <a:pt x="70" y="15"/>
                  </a:cubicBezTo>
                  <a:cubicBezTo>
                    <a:pt x="86" y="29"/>
                    <a:pt x="88" y="55"/>
                    <a:pt x="74" y="72"/>
                  </a:cubicBezTo>
                  <a:cubicBezTo>
                    <a:pt x="60" y="89"/>
                    <a:pt x="35" y="91"/>
                    <a:pt x="18" y="76"/>
                  </a:cubicBezTo>
                  <a:cubicBezTo>
                    <a:pt x="2" y="60"/>
                    <a:pt x="0" y="34"/>
                    <a:pt x="15" y="17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108"/>
            <p:cNvSpPr>
              <a:spLocks/>
            </p:cNvSpPr>
            <p:nvPr userDrawn="1"/>
          </p:nvSpPr>
          <p:spPr bwMode="auto">
            <a:xfrm>
              <a:off x="8114134" y="3143745"/>
              <a:ext cx="316573" cy="349897"/>
            </a:xfrm>
            <a:custGeom>
              <a:avLst/>
              <a:gdLst>
                <a:gd name="T0" fmla="*/ 10 w 85"/>
                <a:gd name="T1" fmla="*/ 26 h 94"/>
                <a:gd name="T2" fmla="*/ 61 w 85"/>
                <a:gd name="T3" fmla="*/ 12 h 94"/>
                <a:gd name="T4" fmla="*/ 75 w 85"/>
                <a:gd name="T5" fmla="*/ 67 h 94"/>
                <a:gd name="T6" fmla="*/ 24 w 85"/>
                <a:gd name="T7" fmla="*/ 83 h 94"/>
                <a:gd name="T8" fmla="*/ 10 w 85"/>
                <a:gd name="T9" fmla="*/ 2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94">
                  <a:moveTo>
                    <a:pt x="10" y="26"/>
                  </a:moveTo>
                  <a:cubicBezTo>
                    <a:pt x="21" y="6"/>
                    <a:pt x="44" y="0"/>
                    <a:pt x="61" y="12"/>
                  </a:cubicBezTo>
                  <a:cubicBezTo>
                    <a:pt x="79" y="23"/>
                    <a:pt x="85" y="48"/>
                    <a:pt x="75" y="67"/>
                  </a:cubicBezTo>
                  <a:cubicBezTo>
                    <a:pt x="65" y="87"/>
                    <a:pt x="43" y="94"/>
                    <a:pt x="24" y="83"/>
                  </a:cubicBezTo>
                  <a:cubicBezTo>
                    <a:pt x="6" y="71"/>
                    <a:pt x="0" y="46"/>
                    <a:pt x="10" y="26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109"/>
            <p:cNvSpPr>
              <a:spLocks/>
            </p:cNvSpPr>
            <p:nvPr userDrawn="1"/>
          </p:nvSpPr>
          <p:spPr bwMode="auto">
            <a:xfrm>
              <a:off x="8532761" y="3354098"/>
              <a:ext cx="293664" cy="347815"/>
            </a:xfrm>
            <a:custGeom>
              <a:avLst/>
              <a:gdLst>
                <a:gd name="T0" fmla="*/ 6 w 79"/>
                <a:gd name="T1" fmla="*/ 32 h 93"/>
                <a:gd name="T2" fmla="*/ 50 w 79"/>
                <a:gd name="T3" fmla="*/ 8 h 93"/>
                <a:gd name="T4" fmla="*/ 73 w 79"/>
                <a:gd name="T5" fmla="*/ 59 h 93"/>
                <a:gd name="T6" fmla="*/ 29 w 79"/>
                <a:gd name="T7" fmla="*/ 85 h 93"/>
                <a:gd name="T8" fmla="*/ 6 w 79"/>
                <a:gd name="T9" fmla="*/ 3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93">
                  <a:moveTo>
                    <a:pt x="6" y="32"/>
                  </a:moveTo>
                  <a:cubicBezTo>
                    <a:pt x="12" y="11"/>
                    <a:pt x="32" y="0"/>
                    <a:pt x="50" y="8"/>
                  </a:cubicBezTo>
                  <a:cubicBezTo>
                    <a:pt x="69" y="15"/>
                    <a:pt x="79" y="38"/>
                    <a:pt x="73" y="59"/>
                  </a:cubicBezTo>
                  <a:cubicBezTo>
                    <a:pt x="68" y="81"/>
                    <a:pt x="48" y="93"/>
                    <a:pt x="29" y="85"/>
                  </a:cubicBezTo>
                  <a:cubicBezTo>
                    <a:pt x="10" y="78"/>
                    <a:pt x="0" y="54"/>
                    <a:pt x="6" y="32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110"/>
            <p:cNvSpPr>
              <a:spLocks/>
            </p:cNvSpPr>
            <p:nvPr userDrawn="1"/>
          </p:nvSpPr>
          <p:spPr bwMode="auto">
            <a:xfrm>
              <a:off x="8961801" y="3485310"/>
              <a:ext cx="252010" cy="320739"/>
            </a:xfrm>
            <a:custGeom>
              <a:avLst/>
              <a:gdLst>
                <a:gd name="T0" fmla="*/ 1 w 68"/>
                <a:gd name="T1" fmla="*/ 37 h 86"/>
                <a:gd name="T2" fmla="*/ 37 w 68"/>
                <a:gd name="T3" fmla="*/ 4 h 86"/>
                <a:gd name="T4" fmla="*/ 67 w 68"/>
                <a:gd name="T5" fmla="*/ 49 h 86"/>
                <a:gd name="T6" fmla="*/ 31 w 68"/>
                <a:gd name="T7" fmla="*/ 83 h 86"/>
                <a:gd name="T8" fmla="*/ 1 w 68"/>
                <a:gd name="T9" fmla="*/ 3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86">
                  <a:moveTo>
                    <a:pt x="1" y="37"/>
                  </a:moveTo>
                  <a:cubicBezTo>
                    <a:pt x="3" y="15"/>
                    <a:pt x="20" y="0"/>
                    <a:pt x="37" y="4"/>
                  </a:cubicBezTo>
                  <a:cubicBezTo>
                    <a:pt x="55" y="7"/>
                    <a:pt x="68" y="27"/>
                    <a:pt x="67" y="49"/>
                  </a:cubicBezTo>
                  <a:cubicBezTo>
                    <a:pt x="65" y="71"/>
                    <a:pt x="50" y="86"/>
                    <a:pt x="31" y="83"/>
                  </a:cubicBezTo>
                  <a:cubicBezTo>
                    <a:pt x="13" y="80"/>
                    <a:pt x="0" y="59"/>
                    <a:pt x="1" y="37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111"/>
            <p:cNvSpPr>
              <a:spLocks/>
            </p:cNvSpPr>
            <p:nvPr userDrawn="1"/>
          </p:nvSpPr>
          <p:spPr bwMode="auto">
            <a:xfrm>
              <a:off x="9355434" y="3531130"/>
              <a:ext cx="239513" cy="293664"/>
            </a:xfrm>
            <a:custGeom>
              <a:avLst/>
              <a:gdLst>
                <a:gd name="T0" fmla="*/ 2 w 64"/>
                <a:gd name="T1" fmla="*/ 40 h 79"/>
                <a:gd name="T2" fmla="*/ 28 w 64"/>
                <a:gd name="T3" fmla="*/ 1 h 79"/>
                <a:gd name="T4" fmla="*/ 62 w 64"/>
                <a:gd name="T5" fmla="*/ 38 h 79"/>
                <a:gd name="T6" fmla="*/ 36 w 64"/>
                <a:gd name="T7" fmla="*/ 78 h 79"/>
                <a:gd name="T8" fmla="*/ 2 w 64"/>
                <a:gd name="T9" fmla="*/ 4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79">
                  <a:moveTo>
                    <a:pt x="2" y="40"/>
                  </a:moveTo>
                  <a:cubicBezTo>
                    <a:pt x="0" y="18"/>
                    <a:pt x="12" y="1"/>
                    <a:pt x="28" y="1"/>
                  </a:cubicBezTo>
                  <a:cubicBezTo>
                    <a:pt x="45" y="0"/>
                    <a:pt x="60" y="17"/>
                    <a:pt x="62" y="38"/>
                  </a:cubicBezTo>
                  <a:cubicBezTo>
                    <a:pt x="64" y="59"/>
                    <a:pt x="53" y="77"/>
                    <a:pt x="36" y="78"/>
                  </a:cubicBezTo>
                  <a:cubicBezTo>
                    <a:pt x="19" y="79"/>
                    <a:pt x="3" y="62"/>
                    <a:pt x="2" y="40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112"/>
            <p:cNvSpPr>
              <a:spLocks/>
            </p:cNvSpPr>
            <p:nvPr userDrawn="1"/>
          </p:nvSpPr>
          <p:spPr bwMode="auto">
            <a:xfrm>
              <a:off x="7320619" y="-51146"/>
              <a:ext cx="283250" cy="229099"/>
            </a:xfrm>
            <a:custGeom>
              <a:avLst/>
              <a:gdLst>
                <a:gd name="T0" fmla="*/ 20 w 76"/>
                <a:gd name="T1" fmla="*/ 48 h 61"/>
                <a:gd name="T2" fmla="*/ 11 w 76"/>
                <a:gd name="T3" fmla="*/ 9 h 61"/>
                <a:gd name="T4" fmla="*/ 56 w 76"/>
                <a:gd name="T5" fmla="*/ 14 h 61"/>
                <a:gd name="T6" fmla="*/ 66 w 76"/>
                <a:gd name="T7" fmla="*/ 51 h 61"/>
                <a:gd name="T8" fmla="*/ 20 w 76"/>
                <a:gd name="T9" fmla="*/ 4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61">
                  <a:moveTo>
                    <a:pt x="20" y="48"/>
                  </a:moveTo>
                  <a:cubicBezTo>
                    <a:pt x="4" y="36"/>
                    <a:pt x="0" y="19"/>
                    <a:pt x="11" y="9"/>
                  </a:cubicBezTo>
                  <a:cubicBezTo>
                    <a:pt x="21" y="0"/>
                    <a:pt x="41" y="2"/>
                    <a:pt x="56" y="14"/>
                  </a:cubicBezTo>
                  <a:cubicBezTo>
                    <a:pt x="71" y="25"/>
                    <a:pt x="76" y="42"/>
                    <a:pt x="66" y="51"/>
                  </a:cubicBezTo>
                  <a:cubicBezTo>
                    <a:pt x="56" y="61"/>
                    <a:pt x="35" y="59"/>
                    <a:pt x="20" y="48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113"/>
            <p:cNvSpPr>
              <a:spLocks/>
            </p:cNvSpPr>
            <p:nvPr userDrawn="1"/>
          </p:nvSpPr>
          <p:spPr bwMode="auto">
            <a:xfrm>
              <a:off x="7108181" y="184200"/>
              <a:ext cx="301995" cy="241595"/>
            </a:xfrm>
            <a:custGeom>
              <a:avLst/>
              <a:gdLst>
                <a:gd name="T0" fmla="*/ 27 w 81"/>
                <a:gd name="T1" fmla="*/ 55 h 65"/>
                <a:gd name="T2" fmla="*/ 9 w 81"/>
                <a:gd name="T3" fmla="*/ 14 h 65"/>
                <a:gd name="T4" fmla="*/ 56 w 81"/>
                <a:gd name="T5" fmla="*/ 10 h 65"/>
                <a:gd name="T6" fmla="*/ 73 w 81"/>
                <a:gd name="T7" fmla="*/ 50 h 65"/>
                <a:gd name="T8" fmla="*/ 27 w 81"/>
                <a:gd name="T9" fmla="*/ 5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65">
                  <a:moveTo>
                    <a:pt x="27" y="55"/>
                  </a:moveTo>
                  <a:cubicBezTo>
                    <a:pt x="8" y="45"/>
                    <a:pt x="0" y="26"/>
                    <a:pt x="9" y="14"/>
                  </a:cubicBezTo>
                  <a:cubicBezTo>
                    <a:pt x="17" y="2"/>
                    <a:pt x="38" y="0"/>
                    <a:pt x="56" y="10"/>
                  </a:cubicBezTo>
                  <a:cubicBezTo>
                    <a:pt x="73" y="20"/>
                    <a:pt x="81" y="38"/>
                    <a:pt x="73" y="50"/>
                  </a:cubicBezTo>
                  <a:cubicBezTo>
                    <a:pt x="66" y="63"/>
                    <a:pt x="45" y="65"/>
                    <a:pt x="27" y="55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114"/>
            <p:cNvSpPr>
              <a:spLocks/>
            </p:cNvSpPr>
            <p:nvPr userDrawn="1"/>
          </p:nvSpPr>
          <p:spPr bwMode="auto">
            <a:xfrm>
              <a:off x="6956142" y="479946"/>
              <a:ext cx="310326" cy="260341"/>
            </a:xfrm>
            <a:custGeom>
              <a:avLst/>
              <a:gdLst>
                <a:gd name="T0" fmla="*/ 33 w 83"/>
                <a:gd name="T1" fmla="*/ 62 h 70"/>
                <a:gd name="T2" fmla="*/ 6 w 83"/>
                <a:gd name="T3" fmla="*/ 21 h 70"/>
                <a:gd name="T4" fmla="*/ 52 w 83"/>
                <a:gd name="T5" fmla="*/ 8 h 70"/>
                <a:gd name="T6" fmla="*/ 78 w 83"/>
                <a:gd name="T7" fmla="*/ 48 h 70"/>
                <a:gd name="T8" fmla="*/ 33 w 83"/>
                <a:gd name="T9" fmla="*/ 6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70">
                  <a:moveTo>
                    <a:pt x="33" y="62"/>
                  </a:moveTo>
                  <a:cubicBezTo>
                    <a:pt x="13" y="55"/>
                    <a:pt x="0" y="36"/>
                    <a:pt x="6" y="21"/>
                  </a:cubicBezTo>
                  <a:cubicBezTo>
                    <a:pt x="11" y="6"/>
                    <a:pt x="32" y="0"/>
                    <a:pt x="52" y="8"/>
                  </a:cubicBezTo>
                  <a:cubicBezTo>
                    <a:pt x="72" y="16"/>
                    <a:pt x="83" y="34"/>
                    <a:pt x="78" y="48"/>
                  </a:cubicBezTo>
                  <a:cubicBezTo>
                    <a:pt x="73" y="63"/>
                    <a:pt x="53" y="70"/>
                    <a:pt x="33" y="62"/>
                  </a:cubicBezTo>
                </a:path>
              </a:pathLst>
            </a:custGeom>
            <a:solidFill>
              <a:srgbClr val="FFFFFF">
                <a:alpha val="1490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6103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7"/>
          <p:cNvSpPr>
            <a:spLocks noGrp="1"/>
          </p:cNvSpPr>
          <p:nvPr>
            <p:ph type="title" hasCustomPrompt="1"/>
          </p:nvPr>
        </p:nvSpPr>
        <p:spPr>
          <a:xfrm>
            <a:off x="4278785" y="2982724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 anchor="ctr">
            <a:spAutoFit/>
          </a:bodyPr>
          <a:lstStyle>
            <a:lvl1pPr algn="ctr"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76462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BA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600200"/>
            <a:ext cx="12188825" cy="3657600"/>
          </a:xfrm>
          <a:prstGeom prst="rect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2" name="Title 7"/>
          <p:cNvSpPr>
            <a:spLocks noGrp="1"/>
          </p:cNvSpPr>
          <p:nvPr>
            <p:ph type="title" hasCustomPrompt="1"/>
          </p:nvPr>
        </p:nvSpPr>
        <p:spPr>
          <a:xfrm>
            <a:off x="4278785" y="2982724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 anchor="ctr">
            <a:spAutoFit/>
          </a:bodyPr>
          <a:lstStyle>
            <a:lvl1pPr algn="ctr"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1" y="6223000"/>
            <a:ext cx="1523603" cy="398211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446123" y="6224529"/>
            <a:ext cx="0" cy="392182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4821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BA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600200"/>
            <a:ext cx="12188825" cy="3657600"/>
          </a:xfrm>
          <a:prstGeom prst="rect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2" name="Title 7"/>
          <p:cNvSpPr>
            <a:spLocks noGrp="1"/>
          </p:cNvSpPr>
          <p:nvPr>
            <p:ph type="title" hasCustomPrompt="1"/>
          </p:nvPr>
        </p:nvSpPr>
        <p:spPr>
          <a:xfrm>
            <a:off x="4278785" y="2982724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 anchor="ctr">
            <a:spAutoFit/>
          </a:bodyPr>
          <a:lstStyle>
            <a:lvl1pPr algn="ctr"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1" y="6223000"/>
            <a:ext cx="1523603" cy="398211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446123" y="6224529"/>
            <a:ext cx="0" cy="392182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450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51774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1523603" y="1880556"/>
            <a:ext cx="9235440" cy="41148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2400">
                <a:latin typeface="+mj-lt"/>
              </a:defRPr>
            </a:lvl1pPr>
            <a:lvl2pPr marL="227013" indent="-227013">
              <a:defRPr sz="1800">
                <a:solidFill>
                  <a:schemeClr val="tx2"/>
                </a:solidFill>
                <a:latin typeface="+mj-lt"/>
              </a:defRPr>
            </a:lvl2pPr>
            <a:lvl3pPr marL="693738" indent="-227013">
              <a:defRPr sz="1600">
                <a:solidFill>
                  <a:schemeClr val="tx2"/>
                </a:solidFill>
                <a:latin typeface="+mj-lt"/>
              </a:defRPr>
            </a:lvl3pPr>
            <a:lvl4pPr marL="1150938" indent="-227013">
              <a:defRPr sz="1400">
                <a:solidFill>
                  <a:schemeClr val="tx2"/>
                </a:solidFill>
                <a:latin typeface="+mj-lt"/>
              </a:defRPr>
            </a:lvl4pPr>
            <a:lvl5pPr marL="1374775" indent="-227013">
              <a:defRPr sz="1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710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399133" y="1880556"/>
            <a:ext cx="4502569" cy="41148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2400">
                <a:latin typeface="+mj-lt"/>
              </a:defRPr>
            </a:lvl1pPr>
            <a:lvl2pPr marL="227013" indent="-227013">
              <a:defRPr sz="1800">
                <a:solidFill>
                  <a:schemeClr val="tx2"/>
                </a:solidFill>
                <a:latin typeface="+mj-lt"/>
              </a:defRPr>
            </a:lvl2pPr>
            <a:lvl3pPr marL="693738" indent="-227013">
              <a:defRPr sz="1600">
                <a:solidFill>
                  <a:schemeClr val="tx2"/>
                </a:solidFill>
                <a:latin typeface="+mj-lt"/>
              </a:defRPr>
            </a:lvl3pPr>
            <a:lvl4pPr marL="1150938" indent="-227013">
              <a:defRPr sz="1400">
                <a:solidFill>
                  <a:schemeClr val="tx2"/>
                </a:solidFill>
                <a:latin typeface="+mj-lt"/>
              </a:defRPr>
            </a:lvl4pPr>
            <a:lvl5pPr marL="1374775" indent="-227013">
              <a:defRPr sz="1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1523603" y="1880556"/>
            <a:ext cx="4502569" cy="41148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2400">
                <a:latin typeface="+mj-lt"/>
              </a:defRPr>
            </a:lvl1pPr>
            <a:lvl2pPr marL="227013" indent="-227013">
              <a:defRPr sz="1800">
                <a:solidFill>
                  <a:schemeClr val="tx2"/>
                </a:solidFill>
                <a:latin typeface="+mj-lt"/>
              </a:defRPr>
            </a:lvl2pPr>
            <a:lvl3pPr marL="693738" indent="-227013">
              <a:defRPr sz="1600">
                <a:solidFill>
                  <a:schemeClr val="tx2"/>
                </a:solidFill>
                <a:latin typeface="+mj-lt"/>
              </a:defRPr>
            </a:lvl3pPr>
            <a:lvl4pPr marL="1150938" indent="-227013">
              <a:defRPr sz="1400">
                <a:solidFill>
                  <a:schemeClr val="tx2"/>
                </a:solidFill>
                <a:latin typeface="+mj-lt"/>
              </a:defRPr>
            </a:lvl4pPr>
            <a:lvl5pPr marL="1374775" indent="-227013">
              <a:defRPr sz="1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140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723170" y="1880556"/>
            <a:ext cx="2743200" cy="41148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2400">
                <a:latin typeface="+mj-lt"/>
              </a:defRPr>
            </a:lvl1pPr>
            <a:lvl2pPr marL="227013" indent="-227013">
              <a:defRPr sz="1800">
                <a:solidFill>
                  <a:schemeClr val="tx2"/>
                </a:solidFill>
                <a:latin typeface="+mj-lt"/>
              </a:defRPr>
            </a:lvl2pPr>
            <a:lvl3pPr marL="693738" indent="-227013">
              <a:defRPr sz="1600">
                <a:solidFill>
                  <a:schemeClr val="tx2"/>
                </a:solidFill>
                <a:latin typeface="+mj-lt"/>
              </a:defRPr>
            </a:lvl3pPr>
            <a:lvl4pPr marL="1150938" indent="-227013">
              <a:defRPr sz="1400">
                <a:solidFill>
                  <a:schemeClr val="tx2"/>
                </a:solidFill>
                <a:latin typeface="+mj-lt"/>
              </a:defRPr>
            </a:lvl4pPr>
            <a:lvl5pPr marL="1374775" indent="-227013">
              <a:defRPr sz="1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1523603" y="1880556"/>
            <a:ext cx="2743200" cy="41148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2400">
                <a:latin typeface="+mj-lt"/>
              </a:defRPr>
            </a:lvl1pPr>
            <a:lvl2pPr marL="227013" indent="-227013">
              <a:defRPr sz="1800">
                <a:solidFill>
                  <a:schemeClr val="tx2"/>
                </a:solidFill>
                <a:latin typeface="+mj-lt"/>
              </a:defRPr>
            </a:lvl2pPr>
            <a:lvl3pPr marL="693738" indent="-227013">
              <a:defRPr sz="1600">
                <a:solidFill>
                  <a:schemeClr val="tx2"/>
                </a:solidFill>
                <a:latin typeface="+mj-lt"/>
              </a:defRPr>
            </a:lvl3pPr>
            <a:lvl4pPr marL="1150938" indent="-227013">
              <a:defRPr sz="1400">
                <a:solidFill>
                  <a:schemeClr val="tx2"/>
                </a:solidFill>
                <a:latin typeface="+mj-lt"/>
              </a:defRPr>
            </a:lvl4pPr>
            <a:lvl5pPr marL="1374775" indent="-227013">
              <a:defRPr sz="1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7922736" y="1880556"/>
            <a:ext cx="2743200" cy="41148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2400">
                <a:latin typeface="+mj-lt"/>
              </a:defRPr>
            </a:lvl1pPr>
            <a:lvl2pPr marL="227013" indent="-227013">
              <a:defRPr sz="1800">
                <a:solidFill>
                  <a:schemeClr val="tx2"/>
                </a:solidFill>
                <a:latin typeface="+mj-lt"/>
              </a:defRPr>
            </a:lvl2pPr>
            <a:lvl3pPr marL="693738" indent="-227013">
              <a:defRPr sz="1600">
                <a:solidFill>
                  <a:schemeClr val="tx2"/>
                </a:solidFill>
                <a:latin typeface="+mj-lt"/>
              </a:defRPr>
            </a:lvl3pPr>
            <a:lvl4pPr marL="1150938" indent="-227013">
              <a:defRPr sz="1400">
                <a:solidFill>
                  <a:schemeClr val="tx2"/>
                </a:solidFill>
                <a:latin typeface="+mj-lt"/>
              </a:defRPr>
            </a:lvl4pPr>
            <a:lvl5pPr marL="1374775" indent="-227013">
              <a:defRPr sz="1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703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71550" y="1650351"/>
            <a:ext cx="7752902" cy="477038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384003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TO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88825" cy="3429000"/>
          </a:xfrm>
          <a:prstGeom prst="rect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solidFill>
                  <a:schemeClr val="bg2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1" y="6223000"/>
            <a:ext cx="1523603" cy="398211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11369979" y="6323608"/>
            <a:ext cx="209405" cy="2051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fld id="{758A123B-341A-4FA6-84B6-F1CA4693FF67}" type="slidenum">
              <a:rPr lang="en-US" sz="1300" smtClean="0">
                <a:solidFill>
                  <a:schemeClr val="tx2"/>
                </a:solidFill>
              </a:rPr>
              <a:pPr algn="l"/>
              <a:t>‹#›</a:t>
            </a:fld>
            <a:endParaRPr lang="en-US" sz="1300" dirty="0">
              <a:solidFill>
                <a:schemeClr val="tx2"/>
              </a:solidFill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46123" y="6224529"/>
            <a:ext cx="0" cy="392182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11225117" y="6224529"/>
            <a:ext cx="0" cy="392182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4472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Rectangle 9"/>
          <p:cNvSpPr/>
          <p:nvPr userDrawn="1"/>
        </p:nvSpPr>
        <p:spPr>
          <a:xfrm>
            <a:off x="0" y="1600200"/>
            <a:ext cx="12188825" cy="3657600"/>
          </a:xfrm>
          <a:prstGeom prst="rect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809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BOTTO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3429000"/>
            <a:ext cx="12188825" cy="3429000"/>
          </a:xfrm>
          <a:prstGeom prst="rect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45" tIns="30472" rIns="60945" bIns="304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uk-UA" sz="1900">
              <a:solidFill>
                <a:schemeClr val="tx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solidFill>
                  <a:schemeClr val="tx1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86649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-SLIDE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4413" cy="68580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3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4" name="Rectangle 3"/>
          <p:cNvSpPr/>
          <p:nvPr userDrawn="1"/>
        </p:nvSpPr>
        <p:spPr>
          <a:xfrm>
            <a:off x="6092825" y="-1"/>
            <a:ext cx="6096000" cy="6856413"/>
          </a:xfrm>
          <a:prstGeom prst="rect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7344791" y="2980944"/>
            <a:ext cx="3630168" cy="896112"/>
          </a:xfrm>
          <a:prstGeom prst="rect">
            <a:avLst/>
          </a:prstGeom>
        </p:spPr>
        <p:txBody>
          <a:bodyPr anchor="ctr"/>
          <a:lstStyle>
            <a:lvl1pPr algn="ctr">
              <a:defRPr sz="3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0151996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69629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G-SLIDE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6094413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3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4" name="Rectangle 3"/>
          <p:cNvSpPr/>
          <p:nvPr userDrawn="1"/>
        </p:nvSpPr>
        <p:spPr>
          <a:xfrm>
            <a:off x="6092825" y="1600200"/>
            <a:ext cx="6096000" cy="3657600"/>
          </a:xfrm>
          <a:prstGeom prst="rect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7344791" y="2980944"/>
            <a:ext cx="3630168" cy="896112"/>
          </a:xfrm>
          <a:prstGeom prst="rect">
            <a:avLst/>
          </a:prstGeom>
        </p:spPr>
        <p:txBody>
          <a:bodyPr anchor="ctr"/>
          <a:lstStyle>
            <a:lvl1pPr algn="ctr">
              <a:defRPr sz="3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1117851"/>
      </p:ext>
    </p:extLst>
  </p:cSld>
  <p:clrMapOvr>
    <a:masterClrMapping/>
  </p:clrMapOvr>
  <p:hf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G-SLIDE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600200"/>
            <a:ext cx="6094413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3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4" name="Rectangle 3"/>
          <p:cNvSpPr/>
          <p:nvPr userDrawn="1"/>
        </p:nvSpPr>
        <p:spPr>
          <a:xfrm>
            <a:off x="6092825" y="1600200"/>
            <a:ext cx="6096000" cy="3657600"/>
          </a:xfrm>
          <a:prstGeom prst="rect">
            <a:avLst/>
          </a:prstGeom>
          <a:solidFill>
            <a:schemeClr val="bg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7344791" y="2980944"/>
            <a:ext cx="3630168" cy="896112"/>
          </a:xfrm>
          <a:prstGeom prst="rect">
            <a:avLst/>
          </a:prstGeom>
        </p:spPr>
        <p:txBody>
          <a:bodyPr anchor="ctr"/>
          <a:lstStyle>
            <a:lvl1pPr algn="ctr">
              <a:defRPr sz="30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4078256"/>
      </p:ext>
    </p:extLst>
  </p:cSld>
  <p:clrMapOvr>
    <a:masterClrMapping/>
  </p:clrMapOvr>
  <p:hf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-SLIDE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794"/>
            <a:ext cx="6096000" cy="6856413"/>
          </a:xfrm>
          <a:prstGeom prst="rect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4412" y="0"/>
            <a:ext cx="6094413" cy="68580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3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51966" y="2980944"/>
            <a:ext cx="3630168" cy="896112"/>
          </a:xfrm>
          <a:prstGeom prst="rect">
            <a:avLst/>
          </a:prstGeom>
        </p:spPr>
        <p:txBody>
          <a:bodyPr anchor="ctr"/>
          <a:lstStyle>
            <a:lvl1pPr algn="ctr">
              <a:defRPr sz="3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7843333"/>
      </p:ext>
    </p:extLst>
  </p:cSld>
  <p:clrMapOvr>
    <a:masterClrMapping/>
  </p:clrMapOvr>
  <p:hf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G-SLIDE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600200"/>
            <a:ext cx="6096000" cy="3657600"/>
          </a:xfrm>
          <a:prstGeom prst="rect">
            <a:avLst/>
          </a:prstGeom>
          <a:solidFill>
            <a:schemeClr val="accent1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4412" y="1600200"/>
            <a:ext cx="6094413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3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51966" y="2980944"/>
            <a:ext cx="3630168" cy="896112"/>
          </a:xfrm>
          <a:prstGeom prst="rect">
            <a:avLst/>
          </a:prstGeom>
        </p:spPr>
        <p:txBody>
          <a:bodyPr anchor="ctr"/>
          <a:lstStyle>
            <a:lvl1pPr algn="ctr">
              <a:defRPr sz="3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4704057"/>
      </p:ext>
    </p:extLst>
  </p:cSld>
  <p:clrMapOvr>
    <a:masterClrMapping/>
  </p:clrMapOvr>
  <p:hf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G-SLIDE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600200"/>
            <a:ext cx="6096000" cy="3657600"/>
          </a:xfrm>
          <a:prstGeom prst="rect">
            <a:avLst/>
          </a:prstGeom>
          <a:solidFill>
            <a:schemeClr val="bg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094412" y="1600200"/>
            <a:ext cx="6094413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36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51966" y="2980944"/>
            <a:ext cx="3630168" cy="896112"/>
          </a:xfrm>
          <a:prstGeom prst="rect">
            <a:avLst/>
          </a:prstGeom>
        </p:spPr>
        <p:txBody>
          <a:bodyPr anchor="ctr"/>
          <a:lstStyle>
            <a:lvl1pPr algn="ctr">
              <a:defRPr sz="30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9511211"/>
      </p:ext>
    </p:extLst>
  </p:cSld>
  <p:clrMapOvr>
    <a:masterClrMapping/>
  </p:clrMapOvr>
  <p:hf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667847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-SLIDE OPT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1600200"/>
            <a:ext cx="6094413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43180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-SLIDE OPT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094412" y="1600200"/>
            <a:ext cx="6094413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76502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-SLIDE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1600200"/>
            <a:ext cx="12188825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1512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88825" cy="68580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36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85486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1523603" y="1880556"/>
            <a:ext cx="9235440" cy="4114800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200"/>
              </a:spcAft>
              <a:buNone/>
              <a:defRPr sz="2400">
                <a:latin typeface="+mj-lt"/>
              </a:defRPr>
            </a:lvl1pPr>
            <a:lvl2pPr marL="227013" indent="-227013">
              <a:defRPr sz="1800">
                <a:solidFill>
                  <a:schemeClr val="tx2"/>
                </a:solidFill>
                <a:latin typeface="+mj-lt"/>
              </a:defRPr>
            </a:lvl2pPr>
            <a:lvl3pPr marL="693738" indent="-227013">
              <a:defRPr sz="1600">
                <a:solidFill>
                  <a:schemeClr val="tx2"/>
                </a:solidFill>
                <a:latin typeface="+mj-lt"/>
              </a:defRPr>
            </a:lvl3pPr>
            <a:lvl4pPr marL="1150938" indent="-227013">
              <a:defRPr sz="1400">
                <a:solidFill>
                  <a:schemeClr val="tx2"/>
                </a:solidFill>
                <a:latin typeface="+mj-lt"/>
              </a:defRPr>
            </a:lvl4pPr>
            <a:lvl5pPr marL="1374775" indent="-227013">
              <a:defRPr sz="1400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2640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G-SLIDE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181800" y="1853184"/>
            <a:ext cx="962917" cy="963168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9184280" y="3852672"/>
            <a:ext cx="962917" cy="963168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71561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1688152" y="1725168"/>
            <a:ext cx="1803946" cy="1804416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 marL="0" indent="0" algn="ctr">
              <a:buNone/>
              <a:defRPr sz="1300"/>
            </a:lvl1pPr>
          </a:lstStyle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02470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334160" y="1725168"/>
            <a:ext cx="1803946" cy="1804416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069323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034501" y="1755648"/>
            <a:ext cx="1633303" cy="1633728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6521021" y="1755648"/>
            <a:ext cx="1633303" cy="1633728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485980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200083" y="1810512"/>
            <a:ext cx="1633303" cy="1633728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5277761" y="1810512"/>
            <a:ext cx="1633303" cy="1633728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8349345" y="1810512"/>
            <a:ext cx="1633303" cy="1633728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51867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  <a:ln>
            <a:noFill/>
          </a:ln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  <a:endParaRPr lang="uk-UA" dirty="0"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224460" y="1956816"/>
            <a:ext cx="1060428" cy="1060704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2224460" y="3986784"/>
            <a:ext cx="1060428" cy="1060704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539304" y="1956816"/>
            <a:ext cx="1060428" cy="1060704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6539304" y="3987800"/>
            <a:ext cx="1060428" cy="1060704"/>
          </a:xfrm>
          <a:prstGeom prst="ellipse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16957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OPT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523603" y="16032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523603" y="28224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523603" y="40416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742485" y="16032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2742485" y="40416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961368" y="16032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961368" y="28224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961368" y="4041648"/>
            <a:ext cx="1218883" cy="12192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</p:spPr>
        <p:txBody>
          <a:bodyPr lIns="60945" tIns="30472" rIns="60945" bIns="30472" anchor="ctr"/>
          <a:lstStyle>
            <a:lvl1pPr>
              <a:defRPr lang="uk-UA" sz="13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78965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58197" y="1652016"/>
            <a:ext cx="6033468" cy="3998976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93561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914162" y="1600200"/>
            <a:ext cx="4875530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399133" y="1600200"/>
            <a:ext cx="4875530" cy="36576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11236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OP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4048" y="380941"/>
            <a:ext cx="3631254" cy="892552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>
              <a:defRPr lang="uk-UA" sz="3000" b="1"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37982" y="1835082"/>
            <a:ext cx="3351927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998916" y="1835082"/>
            <a:ext cx="3351927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418449" y="1835082"/>
            <a:ext cx="3351927" cy="1828800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5400">
            <a:noFill/>
          </a:ln>
          <a:effectLst>
            <a:outerShdw blurRad="292100" dist="38100" dir="5400000" algn="ctr" rotWithShape="0">
              <a:schemeClr val="tx2">
                <a:alpha val="67000"/>
              </a:schemeClr>
            </a:outerShdw>
          </a:effectLst>
        </p:spPr>
        <p:txBody>
          <a:bodyPr lIns="60945" tIns="30472" rIns="60945" bIns="30472" anchor="ctr"/>
          <a:lstStyle>
            <a:lvl1pPr>
              <a:defRPr lang="uk-UA" sz="2700"/>
            </a:lvl1pPr>
          </a:lstStyle>
          <a:p>
            <a:pPr marL="0" lvl="0" indent="0" algn="ctr">
              <a:buNone/>
            </a:pP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99399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9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83.xml"/><Relationship Id="rId34" Type="http://schemas.openxmlformats.org/officeDocument/2006/relationships/slideLayout" Target="../slideLayouts/slideLayout96.xml"/><Relationship Id="rId42" Type="http://schemas.openxmlformats.org/officeDocument/2006/relationships/slideLayout" Target="../slideLayouts/slideLayout104.xml"/><Relationship Id="rId47" Type="http://schemas.openxmlformats.org/officeDocument/2006/relationships/slideLayout" Target="../slideLayouts/slideLayout109.xml"/><Relationship Id="rId50" Type="http://schemas.openxmlformats.org/officeDocument/2006/relationships/slideLayout" Target="../slideLayouts/slideLayout112.xml"/><Relationship Id="rId55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1.xml"/><Relationship Id="rId41" Type="http://schemas.openxmlformats.org/officeDocument/2006/relationships/slideLayout" Target="../slideLayouts/slideLayout103.xml"/><Relationship Id="rId54" Type="http://schemas.openxmlformats.org/officeDocument/2006/relationships/slideLayout" Target="../slideLayouts/slideLayout116.xml"/><Relationship Id="rId62" Type="http://schemas.openxmlformats.org/officeDocument/2006/relationships/image" Target="../media/image2.jpg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32" Type="http://schemas.openxmlformats.org/officeDocument/2006/relationships/slideLayout" Target="../slideLayouts/slideLayout94.xml"/><Relationship Id="rId37" Type="http://schemas.openxmlformats.org/officeDocument/2006/relationships/slideLayout" Target="../slideLayouts/slideLayout99.xml"/><Relationship Id="rId40" Type="http://schemas.openxmlformats.org/officeDocument/2006/relationships/slideLayout" Target="../slideLayouts/slideLayout102.xml"/><Relationship Id="rId45" Type="http://schemas.openxmlformats.org/officeDocument/2006/relationships/slideLayout" Target="../slideLayouts/slideLayout107.xml"/><Relationship Id="rId53" Type="http://schemas.openxmlformats.org/officeDocument/2006/relationships/slideLayout" Target="../slideLayouts/slideLayout115.xml"/><Relationship Id="rId58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slideLayout" Target="../slideLayouts/slideLayout90.xml"/><Relationship Id="rId36" Type="http://schemas.openxmlformats.org/officeDocument/2006/relationships/slideLayout" Target="../slideLayouts/slideLayout98.xml"/><Relationship Id="rId49" Type="http://schemas.openxmlformats.org/officeDocument/2006/relationships/slideLayout" Target="../slideLayouts/slideLayout111.xml"/><Relationship Id="rId57" Type="http://schemas.openxmlformats.org/officeDocument/2006/relationships/slideLayout" Target="../slideLayouts/slideLayout119.xml"/><Relationship Id="rId61" Type="http://schemas.openxmlformats.org/officeDocument/2006/relationships/theme" Target="../theme/theme5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31" Type="http://schemas.openxmlformats.org/officeDocument/2006/relationships/slideLayout" Target="../slideLayouts/slideLayout93.xml"/><Relationship Id="rId44" Type="http://schemas.openxmlformats.org/officeDocument/2006/relationships/slideLayout" Target="../slideLayouts/slideLayout106.xml"/><Relationship Id="rId52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Relationship Id="rId30" Type="http://schemas.openxmlformats.org/officeDocument/2006/relationships/slideLayout" Target="../slideLayouts/slideLayout92.xml"/><Relationship Id="rId35" Type="http://schemas.openxmlformats.org/officeDocument/2006/relationships/slideLayout" Target="../slideLayouts/slideLayout97.xml"/><Relationship Id="rId43" Type="http://schemas.openxmlformats.org/officeDocument/2006/relationships/slideLayout" Target="../slideLayouts/slideLayout105.xml"/><Relationship Id="rId48" Type="http://schemas.openxmlformats.org/officeDocument/2006/relationships/slideLayout" Target="../slideLayouts/slideLayout110.xml"/><Relationship Id="rId56" Type="http://schemas.openxmlformats.org/officeDocument/2006/relationships/slideLayout" Target="../slideLayouts/slideLayout118.xml"/><Relationship Id="rId8" Type="http://schemas.openxmlformats.org/officeDocument/2006/relationships/slideLayout" Target="../slideLayouts/slideLayout70.xml"/><Relationship Id="rId51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33" Type="http://schemas.openxmlformats.org/officeDocument/2006/relationships/slideLayout" Target="../slideLayouts/slideLayout95.xml"/><Relationship Id="rId38" Type="http://schemas.openxmlformats.org/officeDocument/2006/relationships/slideLayout" Target="../slideLayouts/slideLayout100.xml"/><Relationship Id="rId46" Type="http://schemas.openxmlformats.org/officeDocument/2006/relationships/slideLayout" Target="../slideLayouts/slideLayout108.xml"/><Relationship Id="rId59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1" y="6223000"/>
            <a:ext cx="1523603" cy="39821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1369979" y="6323608"/>
            <a:ext cx="209405" cy="2051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fld id="{758A123B-341A-4FA6-84B6-F1CA4693FF67}" type="slidenum">
              <a:rPr lang="en-US" sz="1300" smtClean="0">
                <a:solidFill>
                  <a:schemeClr val="tx2"/>
                </a:solidFill>
              </a:rPr>
              <a:pPr algn="l"/>
              <a:t>‹#›</a:t>
            </a:fld>
            <a:endParaRPr lang="en-US" sz="1300" dirty="0">
              <a:solidFill>
                <a:schemeClr val="tx2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46123" y="6224529"/>
            <a:ext cx="0" cy="392182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11225117" y="6224529"/>
            <a:ext cx="0" cy="392182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3871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768" r:id="rId2"/>
    <p:sldLayoutId id="2147483769" r:id="rId3"/>
    <p:sldLayoutId id="2147483770" r:id="rId4"/>
    <p:sldLayoutId id="2147483771" r:id="rId5"/>
    <p:sldLayoutId id="2147483734" r:id="rId6"/>
    <p:sldLayoutId id="2147483740" r:id="rId7"/>
    <p:sldLayoutId id="2147483664" r:id="rId8"/>
    <p:sldLayoutId id="2147483738" r:id="rId9"/>
    <p:sldLayoutId id="2147483739" r:id="rId10"/>
    <p:sldLayoutId id="2147483745" r:id="rId11"/>
    <p:sldLayoutId id="2147483735" r:id="rId12"/>
    <p:sldLayoutId id="2147483680" r:id="rId13"/>
    <p:sldLayoutId id="2147483697" r:id="rId14"/>
    <p:sldLayoutId id="2147483698" r:id="rId15"/>
    <p:sldLayoutId id="2147483741" r:id="rId16"/>
    <p:sldLayoutId id="2147483743" r:id="rId17"/>
    <p:sldLayoutId id="2147483742" r:id="rId18"/>
    <p:sldLayoutId id="2147483744" r:id="rId19"/>
    <p:sldLayoutId id="2147483772" r:id="rId20"/>
  </p:sldLayoutIdLst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91417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14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00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86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8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1" y="6223000"/>
            <a:ext cx="1523603" cy="39821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369979" y="6323608"/>
            <a:ext cx="209405" cy="2051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fld id="{758A123B-341A-4FA6-84B6-F1CA4693FF67}" type="slidenum">
              <a:rPr lang="en-US" sz="1300" smtClean="0">
                <a:solidFill>
                  <a:schemeClr val="tx2"/>
                </a:solidFill>
              </a:rPr>
              <a:pPr algn="r"/>
              <a:t>‹#›</a:t>
            </a:fld>
            <a:endParaRPr lang="en-US" sz="1300" dirty="0">
              <a:solidFill>
                <a:schemeClr val="tx2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46123" y="6224529"/>
            <a:ext cx="0" cy="392182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11225117" y="6224529"/>
            <a:ext cx="0" cy="392182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4209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676" r:id="rId6"/>
    <p:sldLayoutId id="2147483797" r:id="rId7"/>
  </p:sldLayoutIdLst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91417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14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00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86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8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1" y="6223000"/>
            <a:ext cx="1523603" cy="39821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369979" y="6323608"/>
            <a:ext cx="209405" cy="2051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fld id="{758A123B-341A-4FA6-84B6-F1CA4693FF67}" type="slidenum">
              <a:rPr lang="en-US" sz="1300" smtClean="0">
                <a:solidFill>
                  <a:schemeClr val="tx2"/>
                </a:solidFill>
              </a:rPr>
              <a:pPr algn="r"/>
              <a:t>‹#›</a:t>
            </a:fld>
            <a:endParaRPr lang="en-US" sz="1300" dirty="0">
              <a:solidFill>
                <a:schemeClr val="tx2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46123" y="6224529"/>
            <a:ext cx="0" cy="392182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11225117" y="6224529"/>
            <a:ext cx="0" cy="392182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0439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732" r:id="rId2"/>
    <p:sldLayoutId id="2147483731" r:id="rId3"/>
    <p:sldLayoutId id="2147483701" r:id="rId4"/>
    <p:sldLayoutId id="2147483700" r:id="rId5"/>
    <p:sldLayoutId id="2147483699" r:id="rId6"/>
    <p:sldLayoutId id="2147483668" r:id="rId7"/>
    <p:sldLayoutId id="2147483670" r:id="rId8"/>
    <p:sldLayoutId id="2147483671" r:id="rId9"/>
    <p:sldLayoutId id="2147483695" r:id="rId10"/>
    <p:sldLayoutId id="2147483696" r:id="rId11"/>
  </p:sldLayoutIdLst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91417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14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00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86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8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41" y="6223000"/>
            <a:ext cx="1523603" cy="39821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369979" y="6323608"/>
            <a:ext cx="209405" cy="2051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fld id="{758A123B-341A-4FA6-84B6-F1CA4693FF67}" type="slidenum">
              <a:rPr lang="en-US" sz="1300" smtClean="0">
                <a:solidFill>
                  <a:schemeClr val="tx2"/>
                </a:solidFill>
              </a:rPr>
              <a:pPr algn="r"/>
              <a:t>‹#›</a:t>
            </a:fld>
            <a:endParaRPr lang="en-US" sz="1300" dirty="0">
              <a:solidFill>
                <a:schemeClr val="tx2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46123" y="6224529"/>
            <a:ext cx="0" cy="392182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11225117" y="6224529"/>
            <a:ext cx="0" cy="392182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3470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6" r:id="rId8"/>
    <p:sldLayoutId id="2147483727" r:id="rId9"/>
    <p:sldLayoutId id="2147483721" r:id="rId10"/>
    <p:sldLayoutId id="2147483722" r:id="rId11"/>
    <p:sldLayoutId id="2147483723" r:id="rId12"/>
    <p:sldLayoutId id="2147483679" r:id="rId13"/>
    <p:sldLayoutId id="2147483724" r:id="rId14"/>
    <p:sldLayoutId id="2147483689" r:id="rId15"/>
    <p:sldLayoutId id="2147483682" r:id="rId16"/>
    <p:sldLayoutId id="2147483683" r:id="rId17"/>
    <p:sldLayoutId id="2147483685" r:id="rId18"/>
    <p:sldLayoutId id="2147483686" r:id="rId19"/>
    <p:sldLayoutId id="2147483688" r:id="rId20"/>
    <p:sldLayoutId id="2147483687" r:id="rId21"/>
    <p:sldLayoutId id="2147483684" r:id="rId22"/>
    <p:sldLayoutId id="2147483667" r:id="rId23"/>
    <p:sldLayoutId id="2147483733" r:id="rId24"/>
  </p:sldLayoutIdLst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91417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14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00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86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8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276" y="6223000"/>
            <a:ext cx="1065980" cy="39821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1369979" y="6323608"/>
            <a:ext cx="209405" cy="2051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fld id="{758A123B-341A-4FA6-84B6-F1CA4693FF67}" type="slidenum">
              <a:rPr lang="en-US" sz="1300" smtClean="0">
                <a:solidFill>
                  <a:schemeClr val="tx2"/>
                </a:solidFill>
              </a:rPr>
              <a:pPr algn="l"/>
              <a:t>‹#›</a:t>
            </a:fld>
            <a:endParaRPr lang="en-US" sz="1300" dirty="0">
              <a:solidFill>
                <a:schemeClr val="tx2"/>
              </a:solidFill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446123" y="6224529"/>
            <a:ext cx="0" cy="392182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11225117" y="6224529"/>
            <a:ext cx="0" cy="392182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5543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  <p:sldLayoutId id="2147483825" r:id="rId15"/>
    <p:sldLayoutId id="2147483826" r:id="rId16"/>
    <p:sldLayoutId id="2147483827" r:id="rId17"/>
    <p:sldLayoutId id="2147483828" r:id="rId18"/>
    <p:sldLayoutId id="2147483829" r:id="rId19"/>
    <p:sldLayoutId id="2147483830" r:id="rId20"/>
    <p:sldLayoutId id="2147483831" r:id="rId21"/>
    <p:sldLayoutId id="2147483832" r:id="rId22"/>
    <p:sldLayoutId id="2147483833" r:id="rId23"/>
    <p:sldLayoutId id="2147483834" r:id="rId24"/>
    <p:sldLayoutId id="2147483835" r:id="rId25"/>
    <p:sldLayoutId id="2147483836" r:id="rId26"/>
    <p:sldLayoutId id="2147483837" r:id="rId27"/>
    <p:sldLayoutId id="2147483838" r:id="rId28"/>
    <p:sldLayoutId id="2147483839" r:id="rId29"/>
    <p:sldLayoutId id="2147483840" r:id="rId30"/>
    <p:sldLayoutId id="2147483841" r:id="rId31"/>
    <p:sldLayoutId id="2147483842" r:id="rId32"/>
    <p:sldLayoutId id="2147483843" r:id="rId33"/>
    <p:sldLayoutId id="2147483844" r:id="rId34"/>
    <p:sldLayoutId id="2147483845" r:id="rId35"/>
    <p:sldLayoutId id="2147483846" r:id="rId36"/>
    <p:sldLayoutId id="2147483847" r:id="rId37"/>
    <p:sldLayoutId id="2147483848" r:id="rId38"/>
    <p:sldLayoutId id="2147483849" r:id="rId39"/>
    <p:sldLayoutId id="2147483850" r:id="rId40"/>
    <p:sldLayoutId id="2147483851" r:id="rId41"/>
    <p:sldLayoutId id="2147483852" r:id="rId42"/>
    <p:sldLayoutId id="2147483853" r:id="rId43"/>
    <p:sldLayoutId id="2147483854" r:id="rId44"/>
    <p:sldLayoutId id="2147483855" r:id="rId45"/>
    <p:sldLayoutId id="2147483856" r:id="rId46"/>
    <p:sldLayoutId id="2147483857" r:id="rId47"/>
    <p:sldLayoutId id="2147483858" r:id="rId48"/>
    <p:sldLayoutId id="2147483859" r:id="rId49"/>
    <p:sldLayoutId id="2147483860" r:id="rId50"/>
    <p:sldLayoutId id="2147483861" r:id="rId51"/>
    <p:sldLayoutId id="2147483862" r:id="rId52"/>
    <p:sldLayoutId id="2147483863" r:id="rId53"/>
    <p:sldLayoutId id="2147483864" r:id="rId54"/>
    <p:sldLayoutId id="2147483865" r:id="rId55"/>
    <p:sldLayoutId id="2147483866" r:id="rId56"/>
    <p:sldLayoutId id="2147483867" r:id="rId57"/>
    <p:sldLayoutId id="2147483868" r:id="rId58"/>
    <p:sldLayoutId id="2147483869" r:id="rId59"/>
    <p:sldLayoutId id="2147483870" r:id="rId60"/>
  </p:sldLayoutIdLst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txStyles>
    <p:titleStyle>
      <a:lvl1pPr algn="l" defTabSz="91417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91417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29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14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00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886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71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8" indent="-228543" algn="l" defTabSz="91417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6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D76278-3F5A-4A8E-BBF6-6AD95ADC28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90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D76278-3F5A-4A8E-BBF6-6AD95ADC2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190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131F825-ED8E-4653-B939-A6AC5C60823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23602" y="893"/>
            <a:ext cx="158709" cy="15870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tabLst>
                <a:tab pos="231705" algn="l"/>
                <a:tab pos="1145831" algn="l"/>
              </a:tabLst>
            </a:pPr>
            <a:endParaRPr lang="en-US" sz="3599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69A6673-D7B6-45D8-9577-CAD7D3AB8D1E}"/>
              </a:ext>
            </a:extLst>
          </p:cNvPr>
          <p:cNvSpPr txBox="1">
            <a:spLocks/>
          </p:cNvSpPr>
          <p:nvPr/>
        </p:nvSpPr>
        <p:spPr>
          <a:xfrm>
            <a:off x="2346675" y="3037993"/>
            <a:ext cx="9121878" cy="477038"/>
          </a:xfrm>
          <a:prstGeom prst="rect">
            <a:avLst/>
          </a:prstGeom>
        </p:spPr>
        <p:txBody>
          <a:bodyPr anchor="b">
            <a:noAutofit/>
          </a:bodyPr>
          <a:lstStyle>
            <a:lvl1pPr algn="l" defTabSz="914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sz="6000" b="1" dirty="0"/>
              <a:t>Purafil </a:t>
            </a:r>
          </a:p>
          <a:p>
            <a:r>
              <a:rPr lang="en-US" sz="6000" b="1" dirty="0"/>
              <a:t>Covid-19 Response</a:t>
            </a:r>
          </a:p>
        </p:txBody>
      </p:sp>
    </p:spTree>
    <p:extLst>
      <p:ext uri="{BB962C8B-B14F-4D97-AF65-F5344CB8AC3E}">
        <p14:creationId xmlns:p14="http://schemas.microsoft.com/office/powerpoint/2010/main" val="198795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9">
            <a:extLst>
              <a:ext uri="{FF2B5EF4-FFF2-40B4-BE49-F238E27FC236}">
                <a16:creationId xmlns:a16="http://schemas.microsoft.com/office/drawing/2014/main" id="{876A66FC-D035-412C-9C02-DDE52B7F37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B01D3698-23F8-48EA-9746-2A8D7671B6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64" y="234726"/>
            <a:ext cx="2536474" cy="1089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1654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952C31-C9D2-49FC-8769-50D2E7650E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B19D0B-B688-4CA5-BF89-96ACDE19FE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130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2C193EED-A3E2-4BDF-8C66-94E717073DE8}"/>
              </a:ext>
            </a:extLst>
          </p:cNvPr>
          <p:cNvSpPr txBox="1">
            <a:spLocks/>
          </p:cNvSpPr>
          <p:nvPr/>
        </p:nvSpPr>
        <p:spPr>
          <a:xfrm>
            <a:off x="377315" y="224255"/>
            <a:ext cx="7568097" cy="477038"/>
          </a:xfrm>
          <a:prstGeom prst="rect">
            <a:avLst/>
          </a:prstGeom>
        </p:spPr>
        <p:txBody>
          <a:bodyPr/>
          <a:lstStyle>
            <a:lvl1pPr algn="l" defTabSz="914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>
                <a:solidFill>
                  <a:srgbClr val="0093D0"/>
                </a:solidFill>
                <a:latin typeface="+mn-ea"/>
                <a:ea typeface="+mn-ea"/>
                <a:cs typeface="Calibri" panose="020F0502020204030204" pitchFamily="34" charset="0"/>
              </a:rPr>
              <a:t>Purafil Products to Fight Covid-19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CF37F90-EAB1-4BFD-89E8-5492855BB0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869" y="3483912"/>
            <a:ext cx="1676401" cy="1660435"/>
          </a:xfrm>
          <a:prstGeom prst="rect">
            <a:avLst/>
          </a:prstGeom>
        </p:spPr>
      </p:pic>
      <p:pic>
        <p:nvPicPr>
          <p:cNvPr id="4" name="Picture 1" descr="\\p34-fileserver\marketing\Photos and Illustrations\Media\SP or Odoroxidant.jpg">
            <a:extLst>
              <a:ext uri="{FF2B5EF4-FFF2-40B4-BE49-F238E27FC236}">
                <a16:creationId xmlns:a16="http://schemas.microsoft.com/office/drawing/2014/main" id="{0A62A9B3-B8BD-443D-ABDA-DA1A6A246E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1350380" y="1478769"/>
            <a:ext cx="1948269" cy="1078266"/>
          </a:xfrm>
          <a:prstGeom prst="rect">
            <a:avLst/>
          </a:prstGeom>
          <a:noFill/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F3D4155-B5B9-4D21-9A32-DD3A6C9B62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49556" y="3671839"/>
            <a:ext cx="1413344" cy="1472508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8946A87-2DEA-4A54-9750-3F50C55D76A9}"/>
              </a:ext>
            </a:extLst>
          </p:cNvPr>
          <p:cNvCxnSpPr>
            <a:cxnSpLocks/>
          </p:cNvCxnSpPr>
          <p:nvPr/>
        </p:nvCxnSpPr>
        <p:spPr>
          <a:xfrm>
            <a:off x="2385161" y="2558226"/>
            <a:ext cx="247970" cy="865472"/>
          </a:xfrm>
          <a:prstGeom prst="straightConnector1">
            <a:avLst/>
          </a:prstGeom>
          <a:ln w="76200" cap="sq">
            <a:solidFill>
              <a:schemeClr val="accent2"/>
            </a:solidFill>
            <a:bevel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BCDCECF9-6BF8-471B-8ADC-D4C8E01CFF0A}"/>
              </a:ext>
            </a:extLst>
          </p:cNvPr>
          <p:cNvCxnSpPr>
            <a:cxnSpLocks/>
          </p:cNvCxnSpPr>
          <p:nvPr/>
        </p:nvCxnSpPr>
        <p:spPr>
          <a:xfrm flipH="1">
            <a:off x="1417390" y="2557035"/>
            <a:ext cx="409413" cy="781429"/>
          </a:xfrm>
          <a:prstGeom prst="straightConnector1">
            <a:avLst/>
          </a:prstGeom>
          <a:ln w="76200" cap="sq">
            <a:solidFill>
              <a:schemeClr val="accent2"/>
            </a:solidFill>
            <a:bevel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083C317-9E97-4B60-8962-B37BD0F9B2D7}"/>
              </a:ext>
            </a:extLst>
          </p:cNvPr>
          <p:cNvSpPr txBox="1"/>
          <p:nvPr/>
        </p:nvSpPr>
        <p:spPr>
          <a:xfrm>
            <a:off x="3673439" y="1178837"/>
            <a:ext cx="24209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2"/>
                </a:solidFill>
              </a:rPr>
              <a:t>Chemical Filtr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4A39981-490C-414F-90BD-91BA5864C55F}"/>
              </a:ext>
            </a:extLst>
          </p:cNvPr>
          <p:cNvSpPr txBox="1"/>
          <p:nvPr/>
        </p:nvSpPr>
        <p:spPr>
          <a:xfrm>
            <a:off x="1252470" y="1185870"/>
            <a:ext cx="21440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2"/>
                </a:solidFill>
              </a:rPr>
              <a:t>Puraward  Fibe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2C6E491-F9B0-4C9F-9EDA-0997CE342D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57007" y="1578947"/>
            <a:ext cx="1730391" cy="1078266"/>
          </a:xfrm>
          <a:prstGeom prst="rect">
            <a:avLst/>
          </a:prstGeom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B6603EBC-F9AA-4A85-9F6F-36F470D38301}"/>
              </a:ext>
            </a:extLst>
          </p:cNvPr>
          <p:cNvCxnSpPr>
            <a:cxnSpLocks/>
          </p:cNvCxnSpPr>
          <p:nvPr/>
        </p:nvCxnSpPr>
        <p:spPr>
          <a:xfrm>
            <a:off x="4765787" y="2782312"/>
            <a:ext cx="0" cy="1191333"/>
          </a:xfrm>
          <a:prstGeom prst="straightConnector1">
            <a:avLst/>
          </a:prstGeom>
          <a:ln w="76200" cap="sq">
            <a:solidFill>
              <a:schemeClr val="accent2"/>
            </a:solidFill>
            <a:bevel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E8E49E2-1D1C-4391-A8CE-F5517A4E22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57007" y="3831679"/>
            <a:ext cx="1676400" cy="21812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5AE7574-C6FB-46B0-88CC-EF86922D5E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20934" y="2557035"/>
            <a:ext cx="6067892" cy="3584645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2E205FC7-AF0A-49EA-A210-C4724B039C81}"/>
              </a:ext>
            </a:extLst>
          </p:cNvPr>
          <p:cNvSpPr txBox="1"/>
          <p:nvPr/>
        </p:nvSpPr>
        <p:spPr>
          <a:xfrm>
            <a:off x="6518239" y="2094926"/>
            <a:ext cx="24209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tx2"/>
                </a:solidFill>
              </a:rPr>
              <a:t>Air Scrubber</a:t>
            </a:r>
          </a:p>
        </p:txBody>
      </p:sp>
    </p:spTree>
    <p:extLst>
      <p:ext uri="{BB962C8B-B14F-4D97-AF65-F5344CB8AC3E}">
        <p14:creationId xmlns:p14="http://schemas.microsoft.com/office/powerpoint/2010/main" val="4683416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69136A1-8728-4A83-A432-2B6F678C2AF6}"/>
              </a:ext>
            </a:extLst>
          </p:cNvPr>
          <p:cNvSpPr txBox="1"/>
          <p:nvPr/>
        </p:nvSpPr>
        <p:spPr>
          <a:xfrm>
            <a:off x="653951" y="1391960"/>
            <a:ext cx="10880922" cy="92333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Silver and copper ions in the zeolite carrier exchange with sodium ions found in moisture from the environment, causing a controlled release of silver and copper on demand. </a:t>
            </a:r>
          </a:p>
          <a:p>
            <a:endParaRPr lang="en-US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B79AA2F-53D7-4CCE-99E3-F3D3BE4AB1C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433" y="2649502"/>
            <a:ext cx="3655028" cy="2816538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97137F79-23C4-4569-8EC2-A0D129592672}"/>
              </a:ext>
            </a:extLst>
          </p:cNvPr>
          <p:cNvGrpSpPr/>
          <p:nvPr/>
        </p:nvGrpSpPr>
        <p:grpSpPr>
          <a:xfrm>
            <a:off x="3922179" y="2649502"/>
            <a:ext cx="8121214" cy="2816538"/>
            <a:chOff x="457200" y="3486150"/>
            <a:chExt cx="8349499" cy="2514600"/>
          </a:xfrm>
        </p:grpSpPr>
        <p:pic>
          <p:nvPicPr>
            <p:cNvPr id="9" name="Picture 8" descr="MoleculeStructure.jpg">
              <a:extLst>
                <a:ext uri="{FF2B5EF4-FFF2-40B4-BE49-F238E27FC236}">
                  <a16:creationId xmlns:a16="http://schemas.microsoft.com/office/drawing/2014/main" id="{F4E4B0DB-D417-4E9C-AB86-7733A31258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34200" y="4286250"/>
              <a:ext cx="1872499" cy="17145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0" name="Right Arrow 55">
              <a:extLst>
                <a:ext uri="{FF2B5EF4-FFF2-40B4-BE49-F238E27FC236}">
                  <a16:creationId xmlns:a16="http://schemas.microsoft.com/office/drawing/2014/main" id="{94518D0D-EB19-4A69-A7AE-43836F92870B}"/>
                </a:ext>
              </a:extLst>
            </p:cNvPr>
            <p:cNvSpPr/>
            <p:nvPr/>
          </p:nvSpPr>
          <p:spPr bwMode="auto">
            <a:xfrm rot="2534832">
              <a:off x="6562268" y="4045874"/>
              <a:ext cx="838430" cy="457200"/>
            </a:xfrm>
            <a:prstGeom prst="rightArrow">
              <a:avLst>
                <a:gd name="adj1" fmla="val 61111"/>
                <a:gd name="adj2" fmla="val 50000"/>
              </a:avLst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0">
                  <a:schemeClr val="accent1">
                    <a:alpha val="25000"/>
                  </a:scheme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5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" pitchFamily="18" charset="0"/>
              </a:endParaRPr>
            </a:p>
          </p:txBody>
        </p:sp>
        <p:pic>
          <p:nvPicPr>
            <p:cNvPr id="11" name="Picture 10" descr="FiberDetail.jpg">
              <a:extLst>
                <a:ext uri="{FF2B5EF4-FFF2-40B4-BE49-F238E27FC236}">
                  <a16:creationId xmlns:a16="http://schemas.microsoft.com/office/drawing/2014/main" id="{3F5FC173-72A9-4929-82DA-DABAEBCC0C5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10000" y="3486150"/>
              <a:ext cx="1828800" cy="25146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2" name="Right Arrow 39">
              <a:extLst>
                <a:ext uri="{FF2B5EF4-FFF2-40B4-BE49-F238E27FC236}">
                  <a16:creationId xmlns:a16="http://schemas.microsoft.com/office/drawing/2014/main" id="{634267BF-F224-46E2-931B-D5C8F4812144}"/>
                </a:ext>
              </a:extLst>
            </p:cNvPr>
            <p:cNvSpPr/>
            <p:nvPr/>
          </p:nvSpPr>
          <p:spPr bwMode="auto">
            <a:xfrm>
              <a:off x="2133600" y="4514850"/>
              <a:ext cx="2819400" cy="457200"/>
            </a:xfrm>
            <a:prstGeom prst="rightArrow">
              <a:avLst/>
            </a:prstGeom>
            <a:gradFill flip="none" rotWithShape="1">
              <a:gsLst>
                <a:gs pos="100000">
                  <a:schemeClr val="accent1">
                    <a:lumMod val="75000"/>
                  </a:schemeClr>
                </a:gs>
                <a:gs pos="0">
                  <a:schemeClr val="accent1">
                    <a:alpha val="25000"/>
                  </a:scheme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38100" dist="12700" dir="2700000" algn="tl" rotWithShape="0">
                <a:prstClr val="black">
                  <a:alpha val="5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" pitchFamily="18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F8DE4BD-7B6A-4745-9ABA-103A37428B5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57200" y="3486150"/>
              <a:ext cx="2911642" cy="25146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DFB97707-3283-4033-B6DC-1FDCD6DB6726}"/>
                </a:ext>
              </a:extLst>
            </p:cNvPr>
            <p:cNvSpPr/>
            <p:nvPr/>
          </p:nvSpPr>
          <p:spPr bwMode="auto">
            <a:xfrm rot="14040157">
              <a:off x="5305014" y="3570168"/>
              <a:ext cx="880575" cy="1344307"/>
            </a:xfrm>
            <a:prstGeom prst="triangle">
              <a:avLst/>
            </a:prstGeom>
            <a:gradFill flip="none" rotWithShape="1">
              <a:gsLst>
                <a:gs pos="100000">
                  <a:schemeClr val="accent1">
                    <a:alpha val="25000"/>
                  </a:schemeClr>
                </a:gs>
                <a:gs pos="0">
                  <a:schemeClr val="accent1">
                    <a:lumMod val="75000"/>
                  </a:schemeClr>
                </a:gs>
              </a:gsLst>
              <a:lin ang="17100000" scaled="0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" pitchFamily="18" charset="0"/>
              </a:endParaRPr>
            </a:p>
          </p:txBody>
        </p:sp>
        <p:pic>
          <p:nvPicPr>
            <p:cNvPr id="15" name="Picture 14" descr="ZeoliteDetail.jpg">
              <a:extLst>
                <a:ext uri="{FF2B5EF4-FFF2-40B4-BE49-F238E27FC236}">
                  <a16:creationId xmlns:a16="http://schemas.microsoft.com/office/drawing/2014/main" id="{9895B34B-750C-4831-A325-F1CFAC07B41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67400" y="3486150"/>
              <a:ext cx="857250" cy="6858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0FF30102-9E09-40A3-B08A-2673B32D2229}"/>
              </a:ext>
            </a:extLst>
          </p:cNvPr>
          <p:cNvSpPr txBox="1">
            <a:spLocks/>
          </p:cNvSpPr>
          <p:nvPr/>
        </p:nvSpPr>
        <p:spPr>
          <a:xfrm>
            <a:off x="583279" y="415073"/>
            <a:ext cx="7568097" cy="477038"/>
          </a:xfrm>
          <a:prstGeom prst="rect">
            <a:avLst/>
          </a:prstGeom>
        </p:spPr>
        <p:txBody>
          <a:bodyPr/>
          <a:lstStyle>
            <a:lvl1pPr algn="l" defTabSz="914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>
                <a:solidFill>
                  <a:srgbClr val="0093D0"/>
                </a:solidFill>
                <a:latin typeface="+mn-ea"/>
                <a:ea typeface="+mn-ea"/>
                <a:cs typeface="Calibri" panose="020F0502020204030204" pitchFamily="34" charset="0"/>
              </a:rPr>
              <a:t>Purafil Antimicrobial </a:t>
            </a:r>
            <a:r>
              <a:rPr lang="en-US" sz="3000" b="1" dirty="0" err="1">
                <a:solidFill>
                  <a:srgbClr val="0093D0"/>
                </a:solidFill>
                <a:latin typeface="+mn-ea"/>
                <a:ea typeface="+mn-ea"/>
                <a:cs typeface="Calibri" panose="020F0502020204030204" pitchFamily="34" charset="0"/>
              </a:rPr>
              <a:t>PuraWard</a:t>
            </a:r>
            <a:r>
              <a:rPr lang="en-US" sz="3000" b="1" dirty="0">
                <a:solidFill>
                  <a:srgbClr val="0093D0"/>
                </a:solidFill>
                <a:latin typeface="+mn-ea"/>
                <a:ea typeface="+mn-ea"/>
                <a:cs typeface="Calibri" panose="020F0502020204030204" pitchFamily="34" charset="0"/>
              </a:rPr>
              <a:t> Fiber</a:t>
            </a:r>
          </a:p>
        </p:txBody>
      </p:sp>
    </p:spTree>
    <p:extLst>
      <p:ext uri="{BB962C8B-B14F-4D97-AF65-F5344CB8AC3E}">
        <p14:creationId xmlns:p14="http://schemas.microsoft.com/office/powerpoint/2010/main" val="1573552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F12395F-F6C8-410F-A254-37AA04A50C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3685" y="1431858"/>
            <a:ext cx="3736068" cy="415679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69136A1-8728-4A83-A432-2B6F678C2AF6}"/>
              </a:ext>
            </a:extLst>
          </p:cNvPr>
          <p:cNvSpPr txBox="1"/>
          <p:nvPr/>
        </p:nvSpPr>
        <p:spPr>
          <a:xfrm>
            <a:off x="4737284" y="1553301"/>
            <a:ext cx="7158881" cy="3939540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Synergistic Action - </a:t>
            </a:r>
            <a:r>
              <a:rPr lang="en-US" dirty="0">
                <a:solidFill>
                  <a:schemeClr val="tx2"/>
                </a:solidFill>
              </a:rPr>
              <a:t>Copper readily attacks the proteins/amino acids of the cell wall, allowing silver to invade the cell more readily </a:t>
            </a:r>
          </a:p>
          <a:p>
            <a:endParaRPr lang="en-US" dirty="0">
              <a:solidFill>
                <a:schemeClr val="tx2"/>
              </a:solidFill>
            </a:endParaRPr>
          </a:p>
          <a:p>
            <a:r>
              <a:rPr lang="en-US" b="1" dirty="0">
                <a:solidFill>
                  <a:schemeClr val="accent1"/>
                </a:solidFill>
              </a:rPr>
              <a:t>Joint Attack Inside the Cell: </a:t>
            </a:r>
            <a:endParaRPr lang="en-US" dirty="0">
              <a:solidFill>
                <a:schemeClr val="accent1"/>
              </a:solidFill>
            </a:endParaRPr>
          </a:p>
          <a:p>
            <a:endParaRPr lang="en-US" b="1" dirty="0">
              <a:solidFill>
                <a:schemeClr val="tx2"/>
              </a:solidFill>
            </a:endParaRPr>
          </a:p>
          <a:p>
            <a:r>
              <a:rPr lang="en-US" b="1" dirty="0">
                <a:solidFill>
                  <a:srgbClr val="0093D0"/>
                </a:solidFill>
              </a:rPr>
              <a:t>Sterilization</a:t>
            </a:r>
            <a:r>
              <a:rPr lang="en-US" b="1" dirty="0">
                <a:solidFill>
                  <a:schemeClr val="tx2"/>
                </a:solidFill>
              </a:rPr>
              <a:t>: </a:t>
            </a:r>
            <a:r>
              <a:rPr lang="en-US" dirty="0">
                <a:solidFill>
                  <a:schemeClr val="tx2"/>
                </a:solidFill>
              </a:rPr>
              <a:t>Prevents replication </a:t>
            </a:r>
          </a:p>
          <a:p>
            <a:r>
              <a:rPr lang="en-US" dirty="0">
                <a:solidFill>
                  <a:schemeClr val="tx2"/>
                </a:solidFill>
              </a:rPr>
              <a:t>once silver has entered the cytoplasm and reacts with genomic DNA </a:t>
            </a:r>
          </a:p>
          <a:p>
            <a:endParaRPr lang="en-US" dirty="0">
              <a:solidFill>
                <a:schemeClr val="tx2"/>
              </a:solidFill>
            </a:endParaRPr>
          </a:p>
          <a:p>
            <a:r>
              <a:rPr lang="en-US" b="1" dirty="0">
                <a:solidFill>
                  <a:schemeClr val="accent1"/>
                </a:solidFill>
              </a:rPr>
              <a:t>Suffocation: </a:t>
            </a:r>
            <a:r>
              <a:rPr lang="en-US" dirty="0">
                <a:solidFill>
                  <a:schemeClr val="tx2"/>
                </a:solidFill>
              </a:rPr>
              <a:t>Causes failure of key enzymes associated with respiratory function </a:t>
            </a:r>
          </a:p>
          <a:p>
            <a:endParaRPr lang="en-US" dirty="0">
              <a:solidFill>
                <a:schemeClr val="tx2"/>
              </a:solidFill>
            </a:endParaRPr>
          </a:p>
          <a:p>
            <a:r>
              <a:rPr lang="en-US" b="1" dirty="0">
                <a:solidFill>
                  <a:schemeClr val="accent1"/>
                </a:solidFill>
              </a:rPr>
              <a:t>Starvation: </a:t>
            </a:r>
            <a:r>
              <a:rPr lang="en-US" dirty="0">
                <a:solidFill>
                  <a:schemeClr val="tx2"/>
                </a:solidFill>
              </a:rPr>
              <a:t>Causing the failure of key enzymes associated with transmittance of nutrients across the cell wall </a:t>
            </a:r>
          </a:p>
          <a:p>
            <a:endParaRPr lang="en-US" sz="16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510F178-15B0-4025-9900-07AFDB27B055}"/>
              </a:ext>
            </a:extLst>
          </p:cNvPr>
          <p:cNvSpPr txBox="1">
            <a:spLocks/>
          </p:cNvSpPr>
          <p:nvPr/>
        </p:nvSpPr>
        <p:spPr>
          <a:xfrm>
            <a:off x="190810" y="367887"/>
            <a:ext cx="11564309" cy="477038"/>
          </a:xfrm>
          <a:prstGeom prst="rect">
            <a:avLst/>
          </a:prstGeom>
        </p:spPr>
        <p:txBody>
          <a:bodyPr/>
          <a:lstStyle>
            <a:lvl1pPr algn="l" defTabSz="914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>
                <a:solidFill>
                  <a:srgbClr val="0093D0"/>
                </a:solidFill>
                <a:latin typeface="+mn-ea"/>
                <a:ea typeface="+mn-ea"/>
                <a:cs typeface="Calibri" panose="020F0502020204030204" pitchFamily="34" charset="0"/>
              </a:rPr>
              <a:t>Purafil Antimicrobial </a:t>
            </a:r>
            <a:r>
              <a:rPr lang="en-US" sz="3000" b="1" dirty="0" err="1">
                <a:solidFill>
                  <a:srgbClr val="0093D0"/>
                </a:solidFill>
                <a:latin typeface="+mn-ea"/>
                <a:ea typeface="+mn-ea"/>
                <a:cs typeface="Calibri" panose="020F0502020204030204" pitchFamily="34" charset="0"/>
              </a:rPr>
              <a:t>PuraWard</a:t>
            </a:r>
            <a:r>
              <a:rPr lang="en-US" sz="3000" b="1" dirty="0">
                <a:solidFill>
                  <a:srgbClr val="0093D0"/>
                </a:solidFill>
                <a:latin typeface="+mn-ea"/>
                <a:ea typeface="+mn-ea"/>
                <a:cs typeface="Calibri" panose="020F0502020204030204" pitchFamily="34" charset="0"/>
              </a:rPr>
              <a:t> Fiber – Mechanism of Action</a:t>
            </a:r>
          </a:p>
          <a:p>
            <a:endParaRPr lang="en-US" sz="3000" b="1" dirty="0">
              <a:solidFill>
                <a:srgbClr val="0093D0"/>
              </a:solidFill>
              <a:latin typeface="+mn-ea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3323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536338B-8FA9-4EA0-BCFC-7A2BBED516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2572123"/>
              </p:ext>
            </p:extLst>
          </p:nvPr>
        </p:nvGraphicFramePr>
        <p:xfrm>
          <a:off x="726140" y="1658984"/>
          <a:ext cx="10775576" cy="3074712"/>
        </p:xfrm>
        <a:graphic>
          <a:graphicData uri="http://schemas.openxmlformats.org/drawingml/2006/table">
            <a:tbl>
              <a:tblPr/>
              <a:tblGrid>
                <a:gridCol w="2288797">
                  <a:extLst>
                    <a:ext uri="{9D8B030D-6E8A-4147-A177-3AD203B41FA5}">
                      <a16:colId xmlns:a16="http://schemas.microsoft.com/office/drawing/2014/main" val="415591230"/>
                    </a:ext>
                  </a:extLst>
                </a:gridCol>
                <a:gridCol w="2754660">
                  <a:extLst>
                    <a:ext uri="{9D8B030D-6E8A-4147-A177-3AD203B41FA5}">
                      <a16:colId xmlns:a16="http://schemas.microsoft.com/office/drawing/2014/main" val="3887504985"/>
                    </a:ext>
                  </a:extLst>
                </a:gridCol>
                <a:gridCol w="3119245">
                  <a:extLst>
                    <a:ext uri="{9D8B030D-6E8A-4147-A177-3AD203B41FA5}">
                      <a16:colId xmlns:a16="http://schemas.microsoft.com/office/drawing/2014/main" val="4109512921"/>
                    </a:ext>
                  </a:extLst>
                </a:gridCol>
                <a:gridCol w="2612874">
                  <a:extLst>
                    <a:ext uri="{9D8B030D-6E8A-4147-A177-3AD203B41FA5}">
                      <a16:colId xmlns:a16="http://schemas.microsoft.com/office/drawing/2014/main" val="1357156270"/>
                    </a:ext>
                  </a:extLst>
                </a:gridCol>
              </a:tblGrid>
              <a:tr h="781412">
                <a:tc>
                  <a:txBody>
                    <a:bodyPr/>
                    <a:lstStyle/>
                    <a:p>
                      <a:pPr algn="ctr" rtl="0" fontAlgn="ctr"/>
                      <a:endParaRPr lang="en-US" altLang="zh-CN" sz="1600" b="1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ctr" rtl="0" fontAlgn="ctr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Virus </a:t>
                      </a:r>
                      <a:endParaRPr lang="en-US" altLang="zh-CN" sz="1600" b="0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algn="ctr" rtl="0" fontAlgn="ctr"/>
                      <a:endParaRPr lang="zh-CN" alt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Inhibition Rate</a:t>
                      </a:r>
                      <a:endParaRPr lang="zh-CN" altLang="en-US" sz="1600" b="0" i="0" u="none" strike="noStrike" kern="1200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  <a:cs typeface="+mn-cs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Bacteria</a:t>
                      </a:r>
                      <a:endParaRPr lang="zh-CN" alt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ea"/>
                          <a:ea typeface="+mn-ea"/>
                        </a:rPr>
                        <a:t>Killing Rate</a:t>
                      </a:r>
                      <a:endParaRPr lang="zh-CN" altLang="en-US" sz="1600" b="0" i="0" u="none" strike="noStrike" dirty="0">
                        <a:solidFill>
                          <a:schemeClr val="bg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4253876"/>
                  </a:ext>
                </a:extLst>
              </a:tr>
              <a:tr h="72813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H1N1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99.91%/</a:t>
                      </a:r>
                      <a:r>
                        <a:rPr lang="zh-CN" altLang="en-US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5</a:t>
                      </a:r>
                      <a:r>
                        <a:rPr lang="zh-CN" altLang="en-US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minutes contact</a:t>
                      </a:r>
                      <a:endParaRPr lang="zh-CN" altLang="en-US" sz="1400" b="0" i="0" u="none" strike="noStrike" dirty="0">
                        <a:solidFill>
                          <a:srgbClr val="80808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S. aureus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99.95%/</a:t>
                      </a:r>
                      <a:r>
                        <a:rPr lang="zh-CN" altLang="en-US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r>
                        <a:rPr lang="zh-CN" altLang="en-US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hour</a:t>
                      </a:r>
                      <a:r>
                        <a:rPr lang="zh-CN" altLang="en-US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contact</a:t>
                      </a:r>
                      <a:endParaRPr lang="zh-CN" altLang="en-US" sz="1400" b="0" i="0" u="none" strike="noStrike" dirty="0">
                        <a:solidFill>
                          <a:srgbClr val="80808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0249914"/>
                  </a:ext>
                </a:extLst>
              </a:tr>
              <a:tr h="68946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H7N9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99.98%/5</a:t>
                      </a:r>
                      <a:r>
                        <a:rPr lang="zh-CN" altLang="en-US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minutes contact</a:t>
                      </a:r>
                      <a:endParaRPr lang="zh-CN" altLang="en-US" sz="1400" b="0" i="0" u="none" strike="noStrike" dirty="0">
                        <a:solidFill>
                          <a:srgbClr val="80808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E. Coli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99.96%/ 1 hour</a:t>
                      </a:r>
                      <a:r>
                        <a:rPr lang="zh-CN" altLang="en-US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contact</a:t>
                      </a:r>
                      <a:endParaRPr lang="zh-CN" altLang="en-US" sz="1400" b="0" i="0" u="none" strike="noStrike" dirty="0">
                        <a:solidFill>
                          <a:srgbClr val="80808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0300724"/>
                  </a:ext>
                </a:extLst>
              </a:tr>
              <a:tr h="8756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SARS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99.58%/5</a:t>
                      </a:r>
                      <a:r>
                        <a:rPr lang="zh-CN" altLang="en-US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minutes contact</a:t>
                      </a:r>
                      <a:endParaRPr lang="zh-CN" altLang="en-US" sz="1400" b="0" i="0" u="none" strike="noStrike" dirty="0">
                        <a:solidFill>
                          <a:srgbClr val="80808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C. albicans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   98.90%/ 24 hours</a:t>
                      </a:r>
                      <a:r>
                        <a:rPr lang="zh-CN" altLang="en-US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zh-CN" sz="1400" b="0" i="0" u="none" strike="noStrike" dirty="0">
                          <a:solidFill>
                            <a:srgbClr val="808080"/>
                          </a:solidFill>
                          <a:effectLst/>
                          <a:latin typeface="+mn-ea"/>
                          <a:ea typeface="+mn-ea"/>
                        </a:rPr>
                        <a:t>contact</a:t>
                      </a:r>
                      <a:endParaRPr lang="zh-CN" altLang="en-US" sz="1400" b="0" i="0" u="none" strike="noStrike" dirty="0">
                        <a:solidFill>
                          <a:srgbClr val="80808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5847284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22CE372-A693-4D00-85AD-4B0850D8B979}"/>
              </a:ext>
            </a:extLst>
          </p:cNvPr>
          <p:cNvSpPr txBox="1">
            <a:spLocks/>
          </p:cNvSpPr>
          <p:nvPr/>
        </p:nvSpPr>
        <p:spPr>
          <a:xfrm>
            <a:off x="636917" y="598967"/>
            <a:ext cx="11996732" cy="477038"/>
          </a:xfrm>
          <a:prstGeom prst="rect">
            <a:avLst/>
          </a:prstGeom>
        </p:spPr>
        <p:txBody>
          <a:bodyPr/>
          <a:lstStyle>
            <a:lvl1pPr algn="l" defTabSz="914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>
                <a:solidFill>
                  <a:srgbClr val="0093D0"/>
                </a:solidFill>
                <a:latin typeface="+mn-ea"/>
                <a:ea typeface="+mn-ea"/>
                <a:cs typeface="Calibri" panose="020F0502020204030204" pitchFamily="34" charset="0"/>
              </a:rPr>
              <a:t>Purafil Antimicrobial </a:t>
            </a:r>
            <a:r>
              <a:rPr lang="en-US" sz="3000" b="1" dirty="0" err="1">
                <a:solidFill>
                  <a:srgbClr val="0093D0"/>
                </a:solidFill>
                <a:latin typeface="+mn-ea"/>
                <a:ea typeface="+mn-ea"/>
                <a:cs typeface="Calibri" panose="020F0502020204030204" pitchFamily="34" charset="0"/>
              </a:rPr>
              <a:t>PuraWard</a:t>
            </a:r>
            <a:r>
              <a:rPr lang="en-US" sz="3000" b="1" dirty="0">
                <a:solidFill>
                  <a:srgbClr val="0093D0"/>
                </a:solidFill>
                <a:latin typeface="+mn-ea"/>
                <a:ea typeface="+mn-ea"/>
                <a:cs typeface="Calibri" panose="020F0502020204030204" pitchFamily="34" charset="0"/>
              </a:rPr>
              <a:t> Fiber- </a:t>
            </a:r>
            <a:r>
              <a:rPr lang="en-US" sz="2400" b="1" dirty="0">
                <a:solidFill>
                  <a:srgbClr val="0093D0"/>
                </a:solidFill>
                <a:latin typeface="+mn-ea"/>
                <a:cs typeface="Calibri" panose="020F0502020204030204" pitchFamily="34" charset="0"/>
              </a:rPr>
              <a:t>Antimicrobial Performance</a:t>
            </a:r>
            <a:r>
              <a:rPr lang="en-US" sz="2400" b="1" dirty="0">
                <a:solidFill>
                  <a:srgbClr val="0093D0"/>
                </a:solidFill>
                <a:latin typeface="+mn-ea"/>
                <a:ea typeface="+mn-ea"/>
                <a:cs typeface="Calibri" panose="020F0502020204030204" pitchFamily="34" charset="0"/>
              </a:rPr>
              <a:t> </a:t>
            </a:r>
            <a:endParaRPr lang="en-US" sz="2400" b="1" dirty="0">
              <a:solidFill>
                <a:srgbClr val="0093D0"/>
              </a:solidFill>
              <a:latin typeface="+mn-ea"/>
              <a:cs typeface="Calibri" panose="020F0502020204030204" pitchFamily="34" charset="0"/>
            </a:endParaRPr>
          </a:p>
          <a:p>
            <a:endParaRPr lang="en-US" sz="3000" b="1" dirty="0">
              <a:solidFill>
                <a:srgbClr val="0093D0"/>
              </a:solidFill>
              <a:latin typeface="+mn-ea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1245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413" y="785392"/>
            <a:ext cx="5431975" cy="477038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- </a:t>
            </a:r>
            <a:r>
              <a:rPr lang="en-US" sz="2400" dirty="0">
                <a:solidFill>
                  <a:schemeClr val="accent1"/>
                </a:solidFill>
              </a:rPr>
              <a:t>Markets and Applications</a:t>
            </a:r>
            <a:endParaRPr lang="en-US" sz="2400" dirty="0"/>
          </a:p>
        </p:txBody>
      </p:sp>
      <p:pic>
        <p:nvPicPr>
          <p:cNvPr id="24" name="Picture 23" descr="Home.jpg">
            <a:extLst>
              <a:ext uri="{FF2B5EF4-FFF2-40B4-BE49-F238E27FC236}">
                <a16:creationId xmlns:a16="http://schemas.microsoft.com/office/drawing/2014/main" id="{EA988A96-DC33-42B6-B546-3639E5CCB2B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917" r="6047" b="30255"/>
          <a:stretch>
            <a:fillRect/>
          </a:stretch>
        </p:blipFill>
        <p:spPr>
          <a:xfrm>
            <a:off x="5859976" y="3350454"/>
            <a:ext cx="2232490" cy="89552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456BB955-B721-4651-82A8-933665B29B96}"/>
              </a:ext>
            </a:extLst>
          </p:cNvPr>
          <p:cNvGrpSpPr/>
          <p:nvPr/>
        </p:nvGrpSpPr>
        <p:grpSpPr>
          <a:xfrm>
            <a:off x="979141" y="1826557"/>
            <a:ext cx="10026527" cy="3693723"/>
            <a:chOff x="739529" y="1837315"/>
            <a:chExt cx="10026527" cy="3693723"/>
          </a:xfrm>
        </p:grpSpPr>
        <p:pic>
          <p:nvPicPr>
            <p:cNvPr id="5" name="Picture 4" descr="Home.jpg">
              <a:extLst>
                <a:ext uri="{FF2B5EF4-FFF2-40B4-BE49-F238E27FC236}">
                  <a16:creationId xmlns:a16="http://schemas.microsoft.com/office/drawing/2014/main" id="{485484FC-407C-4020-9590-5D9AA3445F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1777" r="9862" b="14244"/>
            <a:stretch>
              <a:fillRect/>
            </a:stretch>
          </p:blipFill>
          <p:spPr>
            <a:xfrm>
              <a:off x="1885108" y="1857787"/>
              <a:ext cx="1266968" cy="839881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</p:pic>
        <p:pic>
          <p:nvPicPr>
            <p:cNvPr id="21" name="Picture 20" descr="Home.jpg">
              <a:extLst>
                <a:ext uri="{FF2B5EF4-FFF2-40B4-BE49-F238E27FC236}">
                  <a16:creationId xmlns:a16="http://schemas.microsoft.com/office/drawing/2014/main" id="{3C368F51-500C-4A22-90D3-248935AC3CF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313" t="21768" r="7724" b="23156"/>
            <a:stretch>
              <a:fillRect/>
            </a:stretch>
          </p:blipFill>
          <p:spPr>
            <a:xfrm>
              <a:off x="846449" y="3012037"/>
              <a:ext cx="2441339" cy="1086336"/>
            </a:xfrm>
            <a:prstGeom prst="rect">
              <a:avLst/>
            </a:prstGeom>
          </p:spPr>
        </p:pic>
        <p:pic>
          <p:nvPicPr>
            <p:cNvPr id="22" name="Picture 21" descr="Home.jpg">
              <a:extLst>
                <a:ext uri="{FF2B5EF4-FFF2-40B4-BE49-F238E27FC236}">
                  <a16:creationId xmlns:a16="http://schemas.microsoft.com/office/drawing/2014/main" id="{8A7BB5D5-F90B-4397-A16E-1FB169B3CD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8105" t="16170" r="7368" b="11515"/>
            <a:stretch>
              <a:fillRect/>
            </a:stretch>
          </p:blipFill>
          <p:spPr>
            <a:xfrm>
              <a:off x="1478962" y="4434367"/>
              <a:ext cx="1609131" cy="1096671"/>
            </a:xfrm>
            <a:prstGeom prst="rect">
              <a:avLst/>
            </a:prstGeom>
          </p:spPr>
        </p:pic>
        <p:pic>
          <p:nvPicPr>
            <p:cNvPr id="23" name="Picture 22" descr="Home.jpg">
              <a:extLst>
                <a:ext uri="{FF2B5EF4-FFF2-40B4-BE49-F238E27FC236}">
                  <a16:creationId xmlns:a16="http://schemas.microsoft.com/office/drawing/2014/main" id="{C6607601-6E09-432D-9D1A-F54C0875ACF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 l="6881" t="12108" r="10582" b="18060"/>
            <a:stretch>
              <a:fillRect/>
            </a:stretch>
          </p:blipFill>
          <p:spPr>
            <a:xfrm>
              <a:off x="5933774" y="1837315"/>
              <a:ext cx="1694143" cy="1064269"/>
            </a:xfrm>
            <a:prstGeom prst="rect">
              <a:avLst/>
            </a:prstGeom>
          </p:spPr>
        </p:pic>
        <p:pic>
          <p:nvPicPr>
            <p:cNvPr id="27" name="Picture 26" descr="Home.jpg">
              <a:extLst>
                <a:ext uri="{FF2B5EF4-FFF2-40B4-BE49-F238E27FC236}">
                  <a16:creationId xmlns:a16="http://schemas.microsoft.com/office/drawing/2014/main" id="{FA9300E1-B0E6-4A55-A24D-9C9B35B826A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259" r="1198" b="10528"/>
            <a:stretch>
              <a:fillRect/>
            </a:stretch>
          </p:blipFill>
          <p:spPr>
            <a:xfrm>
              <a:off x="6228805" y="4432370"/>
              <a:ext cx="1327026" cy="1016949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D219939-7227-4CFC-B6C7-03BEE6769A2E}"/>
                </a:ext>
              </a:extLst>
            </p:cNvPr>
            <p:cNvSpPr/>
            <p:nvPr/>
          </p:nvSpPr>
          <p:spPr bwMode="auto">
            <a:xfrm>
              <a:off x="3397346" y="2027207"/>
              <a:ext cx="2045887" cy="82779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600" b="1" dirty="0">
                  <a:solidFill>
                    <a:srgbClr val="0072C6"/>
                  </a:solidFill>
                  <a:cs typeface="55 Helvetica Roman"/>
                </a:rPr>
                <a:t>Households </a:t>
              </a:r>
            </a:p>
            <a:p>
              <a:endParaRPr lang="en-US" sz="1400" dirty="0">
                <a:solidFill>
                  <a:srgbClr val="0072C6"/>
                </a:solidFill>
                <a:cs typeface="55 Helvetica Roman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170344A-9ED4-472C-8D2D-767E292FD68D}"/>
                </a:ext>
              </a:extLst>
            </p:cNvPr>
            <p:cNvSpPr/>
            <p:nvPr/>
          </p:nvSpPr>
          <p:spPr bwMode="auto">
            <a:xfrm>
              <a:off x="3397346" y="4741432"/>
              <a:ext cx="2462630" cy="6096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600" b="1" dirty="0">
                  <a:solidFill>
                    <a:srgbClr val="0072C6"/>
                  </a:solidFill>
                  <a:cs typeface="55 Helvetica Roman"/>
                </a:rPr>
                <a:t>Healthcare facilities </a:t>
              </a:r>
            </a:p>
            <a:p>
              <a:endParaRPr lang="en-US" sz="1400" dirty="0">
                <a:solidFill>
                  <a:srgbClr val="0072C6"/>
                </a:solidFill>
                <a:cs typeface="55 Helvetica Roman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88E4FC0-F1C7-4535-B224-E088124CE884}"/>
                </a:ext>
              </a:extLst>
            </p:cNvPr>
            <p:cNvSpPr/>
            <p:nvPr/>
          </p:nvSpPr>
          <p:spPr bwMode="auto">
            <a:xfrm>
              <a:off x="3397346" y="3252671"/>
              <a:ext cx="1605683" cy="78848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600" b="1" dirty="0">
                  <a:solidFill>
                    <a:srgbClr val="0072C6"/>
                  </a:solidFill>
                  <a:cs typeface="55 Helvetica Roman"/>
                </a:rPr>
                <a:t>Schools </a:t>
              </a:r>
            </a:p>
            <a:p>
              <a:endParaRPr lang="en-US" sz="1400" dirty="0">
                <a:solidFill>
                  <a:srgbClr val="0072C6"/>
                </a:solidFill>
                <a:cs typeface="55 Helvetica Roman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84FC9BE-028C-452A-8A93-8440132CBE37}"/>
                </a:ext>
              </a:extLst>
            </p:cNvPr>
            <p:cNvSpPr/>
            <p:nvPr/>
          </p:nvSpPr>
          <p:spPr bwMode="auto">
            <a:xfrm>
              <a:off x="8222879" y="2064649"/>
              <a:ext cx="2462630" cy="6096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600" b="1" dirty="0">
                  <a:solidFill>
                    <a:srgbClr val="0072C6"/>
                  </a:solidFill>
                  <a:cs typeface="55 Helvetica Roman"/>
                </a:rPr>
                <a:t>Commercial Buildings</a:t>
              </a:r>
            </a:p>
            <a:p>
              <a:endParaRPr lang="en-US" sz="1400" dirty="0">
                <a:solidFill>
                  <a:srgbClr val="0072C6"/>
                </a:solidFill>
                <a:cs typeface="55 Helvetica Roman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242BE07A-5B28-4AF0-BCC7-E8D4BDDF810E}"/>
                </a:ext>
              </a:extLst>
            </p:cNvPr>
            <p:cNvSpPr/>
            <p:nvPr/>
          </p:nvSpPr>
          <p:spPr bwMode="auto">
            <a:xfrm>
              <a:off x="8303426" y="3350454"/>
              <a:ext cx="2462630" cy="6096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600" b="1" dirty="0">
                  <a:solidFill>
                    <a:srgbClr val="0072C6"/>
                  </a:solidFill>
                  <a:cs typeface="55 Helvetica Roman"/>
                </a:rPr>
                <a:t>Aerospace</a:t>
              </a:r>
            </a:p>
            <a:p>
              <a:endParaRPr lang="en-US" sz="1400" dirty="0">
                <a:solidFill>
                  <a:srgbClr val="0072C6"/>
                </a:solidFill>
                <a:cs typeface="55 Helvetica Roman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D2BA8B0-0D1D-4192-81BF-773563653C17}"/>
                </a:ext>
              </a:extLst>
            </p:cNvPr>
            <p:cNvSpPr/>
            <p:nvPr/>
          </p:nvSpPr>
          <p:spPr bwMode="auto">
            <a:xfrm>
              <a:off x="8303426" y="4488550"/>
              <a:ext cx="2462630" cy="6096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US" sz="1600" b="1" dirty="0">
                  <a:solidFill>
                    <a:srgbClr val="0072C6"/>
                  </a:solidFill>
                  <a:cs typeface="55 Helvetica Roman"/>
                </a:rPr>
                <a:t>Automotive</a:t>
              </a:r>
            </a:p>
            <a:p>
              <a:endParaRPr lang="en-US" sz="1400" dirty="0">
                <a:solidFill>
                  <a:srgbClr val="0072C6"/>
                </a:solidFill>
                <a:cs typeface="55 Helvetica Roman"/>
              </a:endParaRPr>
            </a:p>
          </p:txBody>
        </p:sp>
        <p:pic>
          <p:nvPicPr>
            <p:cNvPr id="35" name="Picture 34" descr="Home.jpg">
              <a:extLst>
                <a:ext uri="{FF2B5EF4-FFF2-40B4-BE49-F238E27FC236}">
                  <a16:creationId xmlns:a16="http://schemas.microsoft.com/office/drawing/2014/main" id="{074851F5-ECC0-4DD0-B429-A1E2B3DA35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1777" r="9862" b="14244"/>
            <a:stretch>
              <a:fillRect/>
            </a:stretch>
          </p:blipFill>
          <p:spPr>
            <a:xfrm>
              <a:off x="739529" y="1863309"/>
              <a:ext cx="1266968" cy="839881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</p:pic>
      </p:grpSp>
      <p:sp>
        <p:nvSpPr>
          <p:cNvPr id="18" name="Title 1">
            <a:extLst>
              <a:ext uri="{FF2B5EF4-FFF2-40B4-BE49-F238E27FC236}">
                <a16:creationId xmlns:a16="http://schemas.microsoft.com/office/drawing/2014/main" id="{0CCE9AF9-5A28-4045-9BB8-0BF162E5A14D}"/>
              </a:ext>
            </a:extLst>
          </p:cNvPr>
          <p:cNvSpPr txBox="1">
            <a:spLocks/>
          </p:cNvSpPr>
          <p:nvPr/>
        </p:nvSpPr>
        <p:spPr>
          <a:xfrm>
            <a:off x="506881" y="341122"/>
            <a:ext cx="9186925" cy="477038"/>
          </a:xfrm>
          <a:prstGeom prst="rect">
            <a:avLst/>
          </a:prstGeom>
          <a:noFill/>
        </p:spPr>
        <p:txBody>
          <a:bodyPr wrap="square" lIns="60945" tIns="30472" rIns="60945" bIns="30472" rtlCol="0">
            <a:spAutoFit/>
          </a:bodyPr>
          <a:lstStyle>
            <a:lvl1pPr algn="l" defTabSz="914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uk-UA" sz="3000" b="1" kern="1200">
                <a:solidFill>
                  <a:schemeClr val="tx1"/>
                </a:solidFill>
                <a:latin typeface="+mn-lt"/>
                <a:ea typeface="Roboto Condensed" panose="02000000000000000000" pitchFamily="2" charset="0"/>
                <a:cs typeface="+mn-cs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Purafil </a:t>
            </a:r>
            <a:r>
              <a:rPr lang="en-US" dirty="0">
                <a:solidFill>
                  <a:srgbClr val="0093D0"/>
                </a:solidFill>
                <a:latin typeface="+mn-ea"/>
                <a:cs typeface="Calibri" panose="020F0502020204030204" pitchFamily="34" charset="0"/>
              </a:rPr>
              <a:t>Antimicrobial </a:t>
            </a:r>
            <a:r>
              <a:rPr lang="en-US" dirty="0" err="1">
                <a:solidFill>
                  <a:schemeClr val="accent1"/>
                </a:solidFill>
              </a:rPr>
              <a:t>PuraWard</a:t>
            </a:r>
            <a:r>
              <a:rPr lang="en-US" dirty="0">
                <a:solidFill>
                  <a:schemeClr val="accent1"/>
                </a:solidFill>
              </a:rPr>
              <a:t> Fib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99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pMSmXKQn.n7DGJxLeb6w"/>
</p:tagLst>
</file>

<file path=ppt/theme/theme1.xml><?xml version="1.0" encoding="utf-8"?>
<a:theme xmlns:a="http://schemas.openxmlformats.org/drawingml/2006/main" name="GENARAL LAYOUTS">
  <a:themeElements>
    <a:clrScheme name="Filtration Group 2017">
      <a:dk1>
        <a:srgbClr val="000000"/>
      </a:dk1>
      <a:lt1>
        <a:srgbClr val="FFFFFF"/>
      </a:lt1>
      <a:dk2>
        <a:srgbClr val="686564"/>
      </a:dk2>
      <a:lt2>
        <a:srgbClr val="FFFFFF"/>
      </a:lt2>
      <a:accent1>
        <a:srgbClr val="0093D0"/>
      </a:accent1>
      <a:accent2>
        <a:srgbClr val="54B948"/>
      </a:accent2>
      <a:accent3>
        <a:srgbClr val="00BFDF"/>
      </a:accent3>
      <a:accent4>
        <a:srgbClr val="1D559F"/>
      </a:accent4>
      <a:accent5>
        <a:srgbClr val="ADE0EE"/>
      </a:accent5>
      <a:accent6>
        <a:srgbClr val="B9F058"/>
      </a:accent6>
      <a:hlink>
        <a:srgbClr val="0093D0"/>
      </a:hlink>
      <a:folHlink>
        <a:srgbClr val="000000"/>
      </a:folHlink>
    </a:clrScheme>
    <a:fontScheme name="FiltrationGroup">
      <a:majorFont>
        <a:latin typeface="Roboto Condensed"/>
        <a:ea typeface=""/>
        <a:cs typeface=""/>
      </a:majorFont>
      <a:minorFont>
        <a:latin typeface="Robot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AM SLIDES">
  <a:themeElements>
    <a:clrScheme name="Filtration Group 2017">
      <a:dk1>
        <a:srgbClr val="000000"/>
      </a:dk1>
      <a:lt1>
        <a:srgbClr val="FFFFFF"/>
      </a:lt1>
      <a:dk2>
        <a:srgbClr val="686564"/>
      </a:dk2>
      <a:lt2>
        <a:srgbClr val="FFFFFF"/>
      </a:lt2>
      <a:accent1>
        <a:srgbClr val="0093D0"/>
      </a:accent1>
      <a:accent2>
        <a:srgbClr val="54B948"/>
      </a:accent2>
      <a:accent3>
        <a:srgbClr val="00BFDF"/>
      </a:accent3>
      <a:accent4>
        <a:srgbClr val="1D559F"/>
      </a:accent4>
      <a:accent5>
        <a:srgbClr val="ADE0EE"/>
      </a:accent5>
      <a:accent6>
        <a:srgbClr val="B9F058"/>
      </a:accent6>
      <a:hlink>
        <a:srgbClr val="0093D0"/>
      </a:hlink>
      <a:folHlink>
        <a:srgbClr val="000000"/>
      </a:folHlink>
    </a:clrScheme>
    <a:fontScheme name="Simplicity - Roboto">
      <a:majorFont>
        <a:latin typeface="Roboto Condensed"/>
        <a:ea typeface=""/>
        <a:cs typeface=""/>
      </a:majorFont>
      <a:minorFont>
        <a:latin typeface="Robot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LIDES WITH IMAGES">
  <a:themeElements>
    <a:clrScheme name="Filtration Group 2017">
      <a:dk1>
        <a:srgbClr val="000000"/>
      </a:dk1>
      <a:lt1>
        <a:srgbClr val="FFFFFF"/>
      </a:lt1>
      <a:dk2>
        <a:srgbClr val="686564"/>
      </a:dk2>
      <a:lt2>
        <a:srgbClr val="FFFFFF"/>
      </a:lt2>
      <a:accent1>
        <a:srgbClr val="0093D0"/>
      </a:accent1>
      <a:accent2>
        <a:srgbClr val="54B948"/>
      </a:accent2>
      <a:accent3>
        <a:srgbClr val="00BFDF"/>
      </a:accent3>
      <a:accent4>
        <a:srgbClr val="1D559F"/>
      </a:accent4>
      <a:accent5>
        <a:srgbClr val="ADE0EE"/>
      </a:accent5>
      <a:accent6>
        <a:srgbClr val="B9F058"/>
      </a:accent6>
      <a:hlink>
        <a:srgbClr val="0093D0"/>
      </a:hlink>
      <a:folHlink>
        <a:srgbClr val="000000"/>
      </a:folHlink>
    </a:clrScheme>
    <a:fontScheme name="Simplicity - Roboto">
      <a:majorFont>
        <a:latin typeface="Roboto Condensed"/>
        <a:ea typeface=""/>
        <a:cs typeface=""/>
      </a:majorFont>
      <a:minorFont>
        <a:latin typeface="Robot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ORTFOLIO">
  <a:themeElements>
    <a:clrScheme name="Filtration Group 2017">
      <a:dk1>
        <a:srgbClr val="000000"/>
      </a:dk1>
      <a:lt1>
        <a:srgbClr val="FFFFFF"/>
      </a:lt1>
      <a:dk2>
        <a:srgbClr val="686564"/>
      </a:dk2>
      <a:lt2>
        <a:srgbClr val="FFFFFF"/>
      </a:lt2>
      <a:accent1>
        <a:srgbClr val="0093D0"/>
      </a:accent1>
      <a:accent2>
        <a:srgbClr val="54B948"/>
      </a:accent2>
      <a:accent3>
        <a:srgbClr val="00BFDF"/>
      </a:accent3>
      <a:accent4>
        <a:srgbClr val="1D559F"/>
      </a:accent4>
      <a:accent5>
        <a:srgbClr val="ADE0EE"/>
      </a:accent5>
      <a:accent6>
        <a:srgbClr val="B9F058"/>
      </a:accent6>
      <a:hlink>
        <a:srgbClr val="0093D0"/>
      </a:hlink>
      <a:folHlink>
        <a:srgbClr val="000000"/>
      </a:folHlink>
    </a:clrScheme>
    <a:fontScheme name="Simplicity - Roboto">
      <a:majorFont>
        <a:latin typeface="Roboto Condensed"/>
        <a:ea typeface=""/>
        <a:cs typeface=""/>
      </a:majorFont>
      <a:minorFont>
        <a:latin typeface="Robot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GENARAL LAYOUTS">
  <a:themeElements>
    <a:clrScheme name="Filtration Group 2017">
      <a:dk1>
        <a:srgbClr val="000000"/>
      </a:dk1>
      <a:lt1>
        <a:srgbClr val="FFFFFF"/>
      </a:lt1>
      <a:dk2>
        <a:srgbClr val="686564"/>
      </a:dk2>
      <a:lt2>
        <a:srgbClr val="FFFFFF"/>
      </a:lt2>
      <a:accent1>
        <a:srgbClr val="0093D0"/>
      </a:accent1>
      <a:accent2>
        <a:srgbClr val="54B948"/>
      </a:accent2>
      <a:accent3>
        <a:srgbClr val="00BFDF"/>
      </a:accent3>
      <a:accent4>
        <a:srgbClr val="1D559F"/>
      </a:accent4>
      <a:accent5>
        <a:srgbClr val="ADE0EE"/>
      </a:accent5>
      <a:accent6>
        <a:srgbClr val="B9F058"/>
      </a:accent6>
      <a:hlink>
        <a:srgbClr val="0093D0"/>
      </a:hlink>
      <a:folHlink>
        <a:srgbClr val="000000"/>
      </a:folHlink>
    </a:clrScheme>
    <a:fontScheme name="FiltrationGroup">
      <a:majorFont>
        <a:latin typeface="Roboto Condensed"/>
        <a:ea typeface=""/>
        <a:cs typeface=""/>
      </a:majorFont>
      <a:minorFont>
        <a:latin typeface="Robot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8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sq">
          <a:solidFill>
            <a:schemeClr val="accent2"/>
          </a:solidFill>
          <a:bevel/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00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8408</TotalTime>
  <Words>205</Words>
  <Application>Microsoft Office PowerPoint</Application>
  <PresentationFormat>Custom</PresentationFormat>
  <Paragraphs>50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Calibri</vt:lpstr>
      <vt:lpstr>Roboto</vt:lpstr>
      <vt:lpstr>Roboto Condensed</vt:lpstr>
      <vt:lpstr>Times</vt:lpstr>
      <vt:lpstr>GENARAL LAYOUTS</vt:lpstr>
      <vt:lpstr>TEAM SLIDES</vt:lpstr>
      <vt:lpstr>SLIDES WITH IMAGES</vt:lpstr>
      <vt:lpstr>PORTFOLIO</vt:lpstr>
      <vt:lpstr>1_GENARAL LAYOUTS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- Markets and Applications</vt:lpstr>
    </vt:vector>
  </TitlesOfParts>
  <Company>diakov.n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Палотенце</dc:creator>
  <cp:lastModifiedBy>Jeff Mathers</cp:lastModifiedBy>
  <cp:revision>1467</cp:revision>
  <cp:lastPrinted>2017-09-15T22:01:23Z</cp:lastPrinted>
  <dcterms:created xsi:type="dcterms:W3CDTF">2015-01-20T11:47:48Z</dcterms:created>
  <dcterms:modified xsi:type="dcterms:W3CDTF">2020-04-01T19:12:52Z</dcterms:modified>
</cp:coreProperties>
</file>